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notesSlides/notesSlide1.xml" ContentType="application/vnd.openxmlformats-officedocument.presentationml.notesSlide+xml"/>
  <Override PartName="/ppt/tags/tag105.xml" ContentType="application/vnd.openxmlformats-officedocument.presentationml.tags+xml"/>
  <Override PartName="/ppt/notesSlides/notesSlide2.xml" ContentType="application/vnd.openxmlformats-officedocument.presentationml.notesSlide+xml"/>
  <Override PartName="/ppt/tags/tag106.xml" ContentType="application/vnd.openxmlformats-officedocument.presentationml.tags+xml"/>
  <Override PartName="/ppt/notesSlides/notesSlide3.xml" ContentType="application/vnd.openxmlformats-officedocument.presentationml.notesSlide+xml"/>
  <Override PartName="/ppt/tags/tag107.xml" ContentType="application/vnd.openxmlformats-officedocument.presentationml.tags+xml"/>
  <Override PartName="/ppt/notesSlides/notesSlide4.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5.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6.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7.xml" ContentType="application/vnd.openxmlformats-officedocument.presentationml.notesSlide+xml"/>
  <Override PartName="/ppt/tags/tag124.xml" ContentType="application/vnd.openxmlformats-officedocument.presentationml.tags+xml"/>
  <Override PartName="/ppt/notesSlides/notesSlide8.xml" ContentType="application/vnd.openxmlformats-officedocument.presentationml.notesSlide+xml"/>
  <Override PartName="/ppt/tags/tag125.xml" ContentType="application/vnd.openxmlformats-officedocument.presentationml.tags+xml"/>
  <Override PartName="/ppt/notesSlides/notesSlide9.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0.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11.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2.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Lst>
  <p:notesMasterIdLst>
    <p:notesMasterId r:id="rId42"/>
  </p:notesMasterIdLst>
  <p:handoutMasterIdLst>
    <p:handoutMasterId r:id="rId43"/>
  </p:handoutMasterIdLst>
  <p:sldIdLst>
    <p:sldId id="256" r:id="rId13"/>
    <p:sldId id="2365" r:id="rId14"/>
    <p:sldId id="2183" r:id="rId15"/>
    <p:sldId id="2250" r:id="rId16"/>
    <p:sldId id="1521" r:id="rId17"/>
    <p:sldId id="2366" r:id="rId18"/>
    <p:sldId id="1236" r:id="rId19"/>
    <p:sldId id="2371" r:id="rId20"/>
    <p:sldId id="2243" r:id="rId21"/>
    <p:sldId id="2367" r:id="rId22"/>
    <p:sldId id="2244" r:id="rId23"/>
    <p:sldId id="2368" r:id="rId24"/>
    <p:sldId id="1541" r:id="rId25"/>
    <p:sldId id="1542" r:id="rId26"/>
    <p:sldId id="2372" r:id="rId27"/>
    <p:sldId id="2155" r:id="rId28"/>
    <p:sldId id="2369" r:id="rId29"/>
    <p:sldId id="1925" r:id="rId30"/>
    <p:sldId id="2035" r:id="rId31"/>
    <p:sldId id="1935" r:id="rId32"/>
    <p:sldId id="1557" r:id="rId33"/>
    <p:sldId id="1562" r:id="rId34"/>
    <p:sldId id="2373" r:id="rId35"/>
    <p:sldId id="2156" r:id="rId36"/>
    <p:sldId id="2374" r:id="rId37"/>
    <p:sldId id="2249" r:id="rId38"/>
    <p:sldId id="2370" r:id="rId39"/>
    <p:sldId id="1598" r:id="rId40"/>
    <p:sldId id="2149" r:id="rId41"/>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EFCE"/>
    <a:srgbClr val="EBF6DE"/>
    <a:srgbClr val="FF0000"/>
    <a:srgbClr val="D9D9D9"/>
    <a:srgbClr val="F7F7F7"/>
    <a:srgbClr val="92D050"/>
    <a:srgbClr val="00B050"/>
    <a:srgbClr val="EBF2FF"/>
    <a:srgbClr val="C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0A7DA1-CBD6-4900-9895-4316C2CB7C28}" v="31" dt="2023-06-14T02:49:18.9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987" autoAdjust="0"/>
    <p:restoredTop sz="94987" autoAdjust="0"/>
  </p:normalViewPr>
  <p:slideViewPr>
    <p:cSldViewPr snapToGrid="0">
      <p:cViewPr varScale="1">
        <p:scale>
          <a:sx n="60" d="100"/>
          <a:sy n="60" d="100"/>
        </p:scale>
        <p:origin x="800"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7112"/>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presProps" Target="presProps.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0BFDED98-5005-4D2B-AE08-CE4ABEE3A76C}"/>
    <pc:docChg chg="modSld">
      <pc:chgData name="Aurelien Domont" userId="6da7715ce44349b3" providerId="LiveId" clId="{0BFDED98-5005-4D2B-AE08-CE4ABEE3A76C}" dt="2021-09-27T03:58:15.113" v="5"/>
      <pc:docMkLst>
        <pc:docMk/>
      </pc:docMkLst>
      <pc:sldChg chg="modSp mod">
        <pc:chgData name="Aurelien Domont" userId="6da7715ce44349b3" providerId="LiveId" clId="{0BFDED98-5005-4D2B-AE08-CE4ABEE3A76C}" dt="2021-09-27T03:57:52.662" v="0"/>
        <pc:sldMkLst>
          <pc:docMk/>
          <pc:sldMk cId="1110778063" sldId="2183"/>
        </pc:sldMkLst>
        <pc:spChg chg="mod">
          <ac:chgData name="Aurelien Domont" userId="6da7715ce44349b3" providerId="LiveId" clId="{0BFDED98-5005-4D2B-AE08-CE4ABEE3A76C}" dt="2021-09-27T03:57:52.662" v="0"/>
          <ac:spMkLst>
            <pc:docMk/>
            <pc:sldMk cId="1110778063" sldId="2183"/>
            <ac:spMk id="58" creationId="{C84BE2B9-6547-40A6-BB5B-8454CC14468F}"/>
          </ac:spMkLst>
        </pc:spChg>
      </pc:sldChg>
      <pc:sldChg chg="modSp mod">
        <pc:chgData name="Aurelien Domont" userId="6da7715ce44349b3" providerId="LiveId" clId="{0BFDED98-5005-4D2B-AE08-CE4ABEE3A76C}" dt="2021-09-27T03:58:02.686" v="1"/>
        <pc:sldMkLst>
          <pc:docMk/>
          <pc:sldMk cId="762251253" sldId="2250"/>
        </pc:sldMkLst>
        <pc:spChg chg="mod">
          <ac:chgData name="Aurelien Domont" userId="6da7715ce44349b3" providerId="LiveId" clId="{0BFDED98-5005-4D2B-AE08-CE4ABEE3A76C}" dt="2021-09-27T03:58:02.686" v="1"/>
          <ac:spMkLst>
            <pc:docMk/>
            <pc:sldMk cId="762251253" sldId="2250"/>
            <ac:spMk id="58" creationId="{C84BE2B9-6547-40A6-BB5B-8454CC14468F}"/>
          </ac:spMkLst>
        </pc:spChg>
      </pc:sldChg>
      <pc:sldChg chg="modSp mod">
        <pc:chgData name="Aurelien Domont" userId="6da7715ce44349b3" providerId="LiveId" clId="{0BFDED98-5005-4D2B-AE08-CE4ABEE3A76C}" dt="2021-09-27T03:58:06.038" v="2"/>
        <pc:sldMkLst>
          <pc:docMk/>
          <pc:sldMk cId="1061406231" sldId="2251"/>
        </pc:sldMkLst>
        <pc:spChg chg="mod">
          <ac:chgData name="Aurelien Domont" userId="6da7715ce44349b3" providerId="LiveId" clId="{0BFDED98-5005-4D2B-AE08-CE4ABEE3A76C}" dt="2021-09-27T03:58:06.038" v="2"/>
          <ac:spMkLst>
            <pc:docMk/>
            <pc:sldMk cId="1061406231" sldId="2251"/>
            <ac:spMk id="58" creationId="{C84BE2B9-6547-40A6-BB5B-8454CC14468F}"/>
          </ac:spMkLst>
        </pc:spChg>
      </pc:sldChg>
      <pc:sldChg chg="modSp mod">
        <pc:chgData name="Aurelien Domont" userId="6da7715ce44349b3" providerId="LiveId" clId="{0BFDED98-5005-4D2B-AE08-CE4ABEE3A76C}" dt="2021-09-27T03:58:09.853" v="3"/>
        <pc:sldMkLst>
          <pc:docMk/>
          <pc:sldMk cId="1752818099" sldId="2252"/>
        </pc:sldMkLst>
        <pc:spChg chg="mod">
          <ac:chgData name="Aurelien Domont" userId="6da7715ce44349b3" providerId="LiveId" clId="{0BFDED98-5005-4D2B-AE08-CE4ABEE3A76C}" dt="2021-09-27T03:58:09.853" v="3"/>
          <ac:spMkLst>
            <pc:docMk/>
            <pc:sldMk cId="1752818099" sldId="2252"/>
            <ac:spMk id="58" creationId="{C84BE2B9-6547-40A6-BB5B-8454CC14468F}"/>
          </ac:spMkLst>
        </pc:spChg>
      </pc:sldChg>
      <pc:sldChg chg="modSp mod">
        <pc:chgData name="Aurelien Domont" userId="6da7715ce44349b3" providerId="LiveId" clId="{0BFDED98-5005-4D2B-AE08-CE4ABEE3A76C}" dt="2021-09-27T03:58:12.461" v="4"/>
        <pc:sldMkLst>
          <pc:docMk/>
          <pc:sldMk cId="1830053554" sldId="2253"/>
        </pc:sldMkLst>
        <pc:spChg chg="mod">
          <ac:chgData name="Aurelien Domont" userId="6da7715ce44349b3" providerId="LiveId" clId="{0BFDED98-5005-4D2B-AE08-CE4ABEE3A76C}" dt="2021-09-27T03:58:12.461" v="4"/>
          <ac:spMkLst>
            <pc:docMk/>
            <pc:sldMk cId="1830053554" sldId="2253"/>
            <ac:spMk id="58" creationId="{C84BE2B9-6547-40A6-BB5B-8454CC14468F}"/>
          </ac:spMkLst>
        </pc:spChg>
      </pc:sldChg>
      <pc:sldChg chg="modSp mod">
        <pc:chgData name="Aurelien Domont" userId="6da7715ce44349b3" providerId="LiveId" clId="{0BFDED98-5005-4D2B-AE08-CE4ABEE3A76C}" dt="2021-09-27T03:58:15.113" v="5"/>
        <pc:sldMkLst>
          <pc:docMk/>
          <pc:sldMk cId="2606252549" sldId="2254"/>
        </pc:sldMkLst>
        <pc:spChg chg="mod">
          <ac:chgData name="Aurelien Domont" userId="6da7715ce44349b3" providerId="LiveId" clId="{0BFDED98-5005-4D2B-AE08-CE4ABEE3A76C}" dt="2021-09-27T03:58:15.113" v="5"/>
          <ac:spMkLst>
            <pc:docMk/>
            <pc:sldMk cId="2606252549" sldId="2254"/>
            <ac:spMk id="58" creationId="{C84BE2B9-6547-40A6-BB5B-8454CC14468F}"/>
          </ac:spMkLst>
        </pc:spChg>
      </pc:sldChg>
    </pc:docChg>
  </pc:docChgLst>
  <pc:docChgLst>
    <pc:chgData name="Aurelien Domont" userId="6da7715ce44349b3" providerId="LiveId" clId="{D90A7DA1-CBD6-4900-9895-4316C2CB7C28}"/>
    <pc:docChg chg="undo custSel addSld delSld modSld">
      <pc:chgData name="Aurelien Domont" userId="6da7715ce44349b3" providerId="LiveId" clId="{D90A7DA1-CBD6-4900-9895-4316C2CB7C28}" dt="2023-06-14T02:49:30.975" v="115" actId="207"/>
      <pc:docMkLst>
        <pc:docMk/>
      </pc:docMkLst>
      <pc:sldChg chg="addSp delSp modSp mod">
        <pc:chgData name="Aurelien Domont" userId="6da7715ce44349b3" providerId="LiveId" clId="{D90A7DA1-CBD6-4900-9895-4316C2CB7C28}" dt="2023-01-30T05:17:20.330" v="1"/>
        <pc:sldMkLst>
          <pc:docMk/>
          <pc:sldMk cId="3131901387" sldId="256"/>
        </pc:sldMkLst>
        <pc:picChg chg="add mod">
          <ac:chgData name="Aurelien Domont" userId="6da7715ce44349b3" providerId="LiveId" clId="{D90A7DA1-CBD6-4900-9895-4316C2CB7C28}" dt="2023-01-30T05:17:20.330" v="1"/>
          <ac:picMkLst>
            <pc:docMk/>
            <pc:sldMk cId="3131901387" sldId="256"/>
            <ac:picMk id="3" creationId="{8FD7F281-04F5-748A-F533-3D98691FBF2B}"/>
          </ac:picMkLst>
        </pc:picChg>
        <pc:picChg chg="del">
          <ac:chgData name="Aurelien Domont" userId="6da7715ce44349b3" providerId="LiveId" clId="{D90A7DA1-CBD6-4900-9895-4316C2CB7C28}" dt="2023-01-30T05:17:19.784" v="0" actId="478"/>
          <ac:picMkLst>
            <pc:docMk/>
            <pc:sldMk cId="3131901387" sldId="256"/>
            <ac:picMk id="7" creationId="{56F6D9FE-2BD8-43FA-8517-544E7B92AA1A}"/>
          </ac:picMkLst>
        </pc:picChg>
      </pc:sldChg>
      <pc:sldChg chg="addSp delSp modSp add mod">
        <pc:chgData name="Aurelien Domont" userId="6da7715ce44349b3" providerId="LiveId" clId="{D90A7DA1-CBD6-4900-9895-4316C2CB7C28}" dt="2023-06-14T01:38:45.190" v="80"/>
        <pc:sldMkLst>
          <pc:docMk/>
          <pc:sldMk cId="3717827458" sldId="1557"/>
        </pc:sldMkLst>
        <pc:spChg chg="add mod">
          <ac:chgData name="Aurelien Domont" userId="6da7715ce44349b3" providerId="LiveId" clId="{D90A7DA1-CBD6-4900-9895-4316C2CB7C28}" dt="2023-06-14T01:38:45.190" v="80"/>
          <ac:spMkLst>
            <pc:docMk/>
            <pc:sldMk cId="3717827458" sldId="1557"/>
            <ac:spMk id="3" creationId="{C21C37B8-7C8C-C4BE-86D3-948949918C22}"/>
          </ac:spMkLst>
        </pc:spChg>
        <pc:spChg chg="del">
          <ac:chgData name="Aurelien Domont" userId="6da7715ce44349b3" providerId="LiveId" clId="{D90A7DA1-CBD6-4900-9895-4316C2CB7C28}" dt="2023-06-14T01:38:45.017" v="79" actId="478"/>
          <ac:spMkLst>
            <pc:docMk/>
            <pc:sldMk cId="3717827458" sldId="1557"/>
            <ac:spMk id="18" creationId="{E1BF0CF4-07B1-4D70-A6CA-29AEE3541297}"/>
          </ac:spMkLst>
        </pc:spChg>
      </pc:sldChg>
      <pc:sldChg chg="addSp delSp modSp add mod">
        <pc:chgData name="Aurelien Domont" userId="6da7715ce44349b3" providerId="LiveId" clId="{D90A7DA1-CBD6-4900-9895-4316C2CB7C28}" dt="2023-06-14T01:38:48.458" v="82"/>
        <pc:sldMkLst>
          <pc:docMk/>
          <pc:sldMk cId="2317062444" sldId="1562"/>
        </pc:sldMkLst>
        <pc:spChg chg="add mod">
          <ac:chgData name="Aurelien Domont" userId="6da7715ce44349b3" providerId="LiveId" clId="{D90A7DA1-CBD6-4900-9895-4316C2CB7C28}" dt="2023-06-14T01:38:48.458" v="82"/>
          <ac:spMkLst>
            <pc:docMk/>
            <pc:sldMk cId="2317062444" sldId="1562"/>
            <ac:spMk id="3" creationId="{0CFE8132-59DD-2EAE-D4E1-B05EA367E68F}"/>
          </ac:spMkLst>
        </pc:spChg>
        <pc:spChg chg="del">
          <ac:chgData name="Aurelien Domont" userId="6da7715ce44349b3" providerId="LiveId" clId="{D90A7DA1-CBD6-4900-9895-4316C2CB7C28}" dt="2023-06-14T01:38:48.269" v="81" actId="478"/>
          <ac:spMkLst>
            <pc:docMk/>
            <pc:sldMk cId="2317062444" sldId="1562"/>
            <ac:spMk id="57" creationId="{FFF418A2-C682-49A0-80E8-ADD5E99F1E76}"/>
          </ac:spMkLst>
        </pc:spChg>
      </pc:sldChg>
      <pc:sldChg chg="add del">
        <pc:chgData name="Aurelien Domont" userId="6da7715ce44349b3" providerId="LiveId" clId="{D90A7DA1-CBD6-4900-9895-4316C2CB7C28}" dt="2023-01-30T05:25:33.620" v="3"/>
        <pc:sldMkLst>
          <pc:docMk/>
          <pc:sldMk cId="1754585881" sldId="1598"/>
        </pc:sldMkLst>
      </pc:sldChg>
      <pc:sldChg chg="del">
        <pc:chgData name="Aurelien Domont" userId="6da7715ce44349b3" providerId="LiveId" clId="{D90A7DA1-CBD6-4900-9895-4316C2CB7C28}" dt="2023-01-30T05:25:31.614" v="2" actId="47"/>
        <pc:sldMkLst>
          <pc:docMk/>
          <pc:sldMk cId="748962572" sldId="1599"/>
        </pc:sldMkLst>
      </pc:sldChg>
      <pc:sldChg chg="del">
        <pc:chgData name="Aurelien Domont" userId="6da7715ce44349b3" providerId="LiveId" clId="{D90A7DA1-CBD6-4900-9895-4316C2CB7C28}" dt="2023-01-30T05:25:31.614" v="2" actId="47"/>
        <pc:sldMkLst>
          <pc:docMk/>
          <pc:sldMk cId="2853806433" sldId="1600"/>
        </pc:sldMkLst>
      </pc:sldChg>
      <pc:sldChg chg="addSp delSp modSp add mod">
        <pc:chgData name="Aurelien Domont" userId="6da7715ce44349b3" providerId="LiveId" clId="{D90A7DA1-CBD6-4900-9895-4316C2CB7C28}" dt="2023-06-14T01:38:30.507" v="74" actId="478"/>
        <pc:sldMkLst>
          <pc:docMk/>
          <pc:sldMk cId="597933806" sldId="1925"/>
        </pc:sldMkLst>
        <pc:spChg chg="add mod">
          <ac:chgData name="Aurelien Domont" userId="6da7715ce44349b3" providerId="LiveId" clId="{D90A7DA1-CBD6-4900-9895-4316C2CB7C28}" dt="2023-06-14T01:38:27.628" v="73" actId="14100"/>
          <ac:spMkLst>
            <pc:docMk/>
            <pc:sldMk cId="597933806" sldId="1925"/>
            <ac:spMk id="2" creationId="{997593BC-219A-F6A0-E5A9-854CB0C9F418}"/>
          </ac:spMkLst>
        </pc:spChg>
        <pc:spChg chg="del mod">
          <ac:chgData name="Aurelien Domont" userId="6da7715ce44349b3" providerId="LiveId" clId="{D90A7DA1-CBD6-4900-9895-4316C2CB7C28}" dt="2023-06-14T01:38:30.507" v="74" actId="478"/>
          <ac:spMkLst>
            <pc:docMk/>
            <pc:sldMk cId="597933806" sldId="1925"/>
            <ac:spMk id="23" creationId="{74CACBB2-9DC7-4D8F-B232-84EE968E0484}"/>
          </ac:spMkLst>
        </pc:spChg>
      </pc:sldChg>
      <pc:sldChg chg="addSp delSp modSp add mod">
        <pc:chgData name="Aurelien Domont" userId="6da7715ce44349b3" providerId="LiveId" clId="{D90A7DA1-CBD6-4900-9895-4316C2CB7C28}" dt="2023-06-14T01:38:41.765" v="78"/>
        <pc:sldMkLst>
          <pc:docMk/>
          <pc:sldMk cId="317604876" sldId="1935"/>
        </pc:sldMkLst>
        <pc:spChg chg="add mod">
          <ac:chgData name="Aurelien Domont" userId="6da7715ce44349b3" providerId="LiveId" clId="{D90A7DA1-CBD6-4900-9895-4316C2CB7C28}" dt="2023-06-14T01:38:41.765" v="78"/>
          <ac:spMkLst>
            <pc:docMk/>
            <pc:sldMk cId="317604876" sldId="1935"/>
            <ac:spMk id="2" creationId="{273515E7-D8C5-FF86-0FA6-26E3FBBD1F0C}"/>
          </ac:spMkLst>
        </pc:spChg>
        <pc:spChg chg="del">
          <ac:chgData name="Aurelien Domont" userId="6da7715ce44349b3" providerId="LiveId" clId="{D90A7DA1-CBD6-4900-9895-4316C2CB7C28}" dt="2023-06-14T01:38:41.456" v="77" actId="478"/>
          <ac:spMkLst>
            <pc:docMk/>
            <pc:sldMk cId="317604876" sldId="1935"/>
            <ac:spMk id="31" creationId="{ACABBA3F-BC80-4E80-A9B9-D11C54A7901A}"/>
          </ac:spMkLst>
        </pc:spChg>
      </pc:sldChg>
      <pc:sldChg chg="addSp delSp modSp add mod">
        <pc:chgData name="Aurelien Domont" userId="6da7715ce44349b3" providerId="LiveId" clId="{D90A7DA1-CBD6-4900-9895-4316C2CB7C28}" dt="2023-06-14T01:38:36.631" v="76"/>
        <pc:sldMkLst>
          <pc:docMk/>
          <pc:sldMk cId="460632394" sldId="2035"/>
        </pc:sldMkLst>
        <pc:spChg chg="add mod">
          <ac:chgData name="Aurelien Domont" userId="6da7715ce44349b3" providerId="LiveId" clId="{D90A7DA1-CBD6-4900-9895-4316C2CB7C28}" dt="2023-06-14T01:38:36.631" v="76"/>
          <ac:spMkLst>
            <pc:docMk/>
            <pc:sldMk cId="460632394" sldId="2035"/>
            <ac:spMk id="2" creationId="{9220ADC8-A0CE-D457-9173-252E38F967C4}"/>
          </ac:spMkLst>
        </pc:spChg>
        <pc:spChg chg="del">
          <ac:chgData name="Aurelien Domont" userId="6da7715ce44349b3" providerId="LiveId" clId="{D90A7DA1-CBD6-4900-9895-4316C2CB7C28}" dt="2023-06-14T01:38:36.446" v="75" actId="478"/>
          <ac:spMkLst>
            <pc:docMk/>
            <pc:sldMk cId="460632394" sldId="2035"/>
            <ac:spMk id="30" creationId="{98B34461-5CBC-4FD1-A323-A10363C0B01C}"/>
          </ac:spMkLst>
        </pc:spChg>
      </pc:sldChg>
      <pc:sldChg chg="add">
        <pc:chgData name="Aurelien Domont" userId="6da7715ce44349b3" providerId="LiveId" clId="{D90A7DA1-CBD6-4900-9895-4316C2CB7C28}" dt="2023-01-30T05:25:33.620" v="3"/>
        <pc:sldMkLst>
          <pc:docMk/>
          <pc:sldMk cId="1289725493" sldId="2149"/>
        </pc:sldMkLst>
      </pc:sldChg>
      <pc:sldChg chg="addSp delSp modSp mod">
        <pc:chgData name="Aurelien Domont" userId="6da7715ce44349b3" providerId="LiveId" clId="{D90A7DA1-CBD6-4900-9895-4316C2CB7C28}" dt="2023-06-14T02:47:52.651" v="93"/>
        <pc:sldMkLst>
          <pc:docMk/>
          <pc:sldMk cId="1110778063" sldId="2183"/>
        </pc:sldMkLst>
        <pc:spChg chg="add mod">
          <ac:chgData name="Aurelien Domont" userId="6da7715ce44349b3" providerId="LiveId" clId="{D90A7DA1-CBD6-4900-9895-4316C2CB7C28}" dt="2023-06-14T02:47:18.913" v="88"/>
          <ac:spMkLst>
            <pc:docMk/>
            <pc:sldMk cId="1110778063" sldId="2183"/>
            <ac:spMk id="2" creationId="{5E0355D4-CA9B-41FF-8F1D-2F0B81B1A9DF}"/>
          </ac:spMkLst>
        </pc:spChg>
        <pc:spChg chg="add mod">
          <ac:chgData name="Aurelien Domont" userId="6da7715ce44349b3" providerId="LiveId" clId="{D90A7DA1-CBD6-4900-9895-4316C2CB7C28}" dt="2023-06-14T02:47:18.913" v="88"/>
          <ac:spMkLst>
            <pc:docMk/>
            <pc:sldMk cId="1110778063" sldId="2183"/>
            <ac:spMk id="4" creationId="{9916C25C-09E7-4D3E-BEA7-AF08F330342E}"/>
          </ac:spMkLst>
        </pc:spChg>
        <pc:spChg chg="add mod">
          <ac:chgData name="Aurelien Domont" userId="6da7715ce44349b3" providerId="LiveId" clId="{D90A7DA1-CBD6-4900-9895-4316C2CB7C28}" dt="2023-06-14T02:47:18.913" v="88"/>
          <ac:spMkLst>
            <pc:docMk/>
            <pc:sldMk cId="1110778063" sldId="2183"/>
            <ac:spMk id="5" creationId="{604A0ABB-287B-4457-99A4-4368E44476D2}"/>
          </ac:spMkLst>
        </pc:spChg>
        <pc:spChg chg="add mod">
          <ac:chgData name="Aurelien Domont" userId="6da7715ce44349b3" providerId="LiveId" clId="{D90A7DA1-CBD6-4900-9895-4316C2CB7C28}" dt="2023-06-14T02:47:18.913" v="88"/>
          <ac:spMkLst>
            <pc:docMk/>
            <pc:sldMk cId="1110778063" sldId="2183"/>
            <ac:spMk id="6" creationId="{B74E8557-B4D2-4C3C-BD6B-B78064157807}"/>
          </ac:spMkLst>
        </pc:spChg>
        <pc:spChg chg="add mod">
          <ac:chgData name="Aurelien Domont" userId="6da7715ce44349b3" providerId="LiveId" clId="{D90A7DA1-CBD6-4900-9895-4316C2CB7C28}" dt="2023-06-14T02:47:18.913" v="88"/>
          <ac:spMkLst>
            <pc:docMk/>
            <pc:sldMk cId="1110778063" sldId="2183"/>
            <ac:spMk id="7" creationId="{3D1745D7-07C0-4FB9-807D-CB5A00FAC0D4}"/>
          </ac:spMkLst>
        </pc:spChg>
        <pc:spChg chg="add mod">
          <ac:chgData name="Aurelien Domont" userId="6da7715ce44349b3" providerId="LiveId" clId="{D90A7DA1-CBD6-4900-9895-4316C2CB7C28}" dt="2023-06-14T02:47:18.913" v="88"/>
          <ac:spMkLst>
            <pc:docMk/>
            <pc:sldMk cId="1110778063" sldId="2183"/>
            <ac:spMk id="8" creationId="{1759B90E-9998-4A98-96B3-E630FA0AA94F}"/>
          </ac:spMkLst>
        </pc:spChg>
        <pc:spChg chg="add mod">
          <ac:chgData name="Aurelien Domont" userId="6da7715ce44349b3" providerId="LiveId" clId="{D90A7DA1-CBD6-4900-9895-4316C2CB7C28}" dt="2023-06-14T02:47:18.913" v="88"/>
          <ac:spMkLst>
            <pc:docMk/>
            <pc:sldMk cId="1110778063" sldId="2183"/>
            <ac:spMk id="21" creationId="{82935CEA-21C9-44BE-89A1-1DD275DEE428}"/>
          </ac:spMkLst>
        </pc:spChg>
        <pc:spChg chg="add mod">
          <ac:chgData name="Aurelien Domont" userId="6da7715ce44349b3" providerId="LiveId" clId="{D90A7DA1-CBD6-4900-9895-4316C2CB7C28}" dt="2023-06-14T02:47:18.913" v="88"/>
          <ac:spMkLst>
            <pc:docMk/>
            <pc:sldMk cId="1110778063" sldId="2183"/>
            <ac:spMk id="22" creationId="{20722091-B659-4426-A162-6ACB50F42219}"/>
          </ac:spMkLst>
        </pc:spChg>
        <pc:spChg chg="del">
          <ac:chgData name="Aurelien Domont" userId="6da7715ce44349b3" providerId="LiveId" clId="{D90A7DA1-CBD6-4900-9895-4316C2CB7C28}" dt="2023-06-14T02:46:59.858" v="85" actId="478"/>
          <ac:spMkLst>
            <pc:docMk/>
            <pc:sldMk cId="1110778063" sldId="2183"/>
            <ac:spMk id="23" creationId="{7406D1DE-5EE9-4F42-82EF-6DA26EBFD296}"/>
          </ac:spMkLst>
        </pc:spChg>
        <pc:spChg chg="add mod">
          <ac:chgData name="Aurelien Domont" userId="6da7715ce44349b3" providerId="LiveId" clId="{D90A7DA1-CBD6-4900-9895-4316C2CB7C28}" dt="2023-06-14T02:47:18.913" v="88"/>
          <ac:spMkLst>
            <pc:docMk/>
            <pc:sldMk cId="1110778063" sldId="2183"/>
            <ac:spMk id="24" creationId="{EACDCCA8-6DB8-4A7A-8D27-79B2373CAABB}"/>
          </ac:spMkLst>
        </pc:spChg>
        <pc:spChg chg="add mod">
          <ac:chgData name="Aurelien Domont" userId="6da7715ce44349b3" providerId="LiveId" clId="{D90A7DA1-CBD6-4900-9895-4316C2CB7C28}" dt="2023-06-14T02:47:18.913" v="88"/>
          <ac:spMkLst>
            <pc:docMk/>
            <pc:sldMk cId="1110778063" sldId="2183"/>
            <ac:spMk id="25" creationId="{20A3DCD9-A8CB-40F1-A1EE-8E7A2A2117CA}"/>
          </ac:spMkLst>
        </pc:spChg>
        <pc:spChg chg="del">
          <ac:chgData name="Aurelien Domont" userId="6da7715ce44349b3" providerId="LiveId" clId="{D90A7DA1-CBD6-4900-9895-4316C2CB7C28}" dt="2023-06-14T02:46:59.858" v="85" actId="478"/>
          <ac:spMkLst>
            <pc:docMk/>
            <pc:sldMk cId="1110778063" sldId="2183"/>
            <ac:spMk id="26" creationId="{106A6A86-2D47-43C4-AFD2-80C96C9FFA89}"/>
          </ac:spMkLst>
        </pc:spChg>
        <pc:spChg chg="del">
          <ac:chgData name="Aurelien Domont" userId="6da7715ce44349b3" providerId="LiveId" clId="{D90A7DA1-CBD6-4900-9895-4316C2CB7C28}" dt="2023-06-14T02:46:59.858" v="85" actId="478"/>
          <ac:spMkLst>
            <pc:docMk/>
            <pc:sldMk cId="1110778063" sldId="2183"/>
            <ac:spMk id="27" creationId="{6AD11DA4-7B04-4C1D-8F5D-1111A1DCC8F8}"/>
          </ac:spMkLst>
        </pc:spChg>
        <pc:spChg chg="add mod">
          <ac:chgData name="Aurelien Domont" userId="6da7715ce44349b3" providerId="LiveId" clId="{D90A7DA1-CBD6-4900-9895-4316C2CB7C28}" dt="2023-06-14T02:47:18.913" v="88"/>
          <ac:spMkLst>
            <pc:docMk/>
            <pc:sldMk cId="1110778063" sldId="2183"/>
            <ac:spMk id="28" creationId="{D3BB882D-D5DF-42A2-8327-8121F16902E2}"/>
          </ac:spMkLst>
        </pc:spChg>
        <pc:spChg chg="del">
          <ac:chgData name="Aurelien Domont" userId="6da7715ce44349b3" providerId="LiveId" clId="{D90A7DA1-CBD6-4900-9895-4316C2CB7C28}" dt="2023-06-14T02:46:59.858" v="85" actId="478"/>
          <ac:spMkLst>
            <pc:docMk/>
            <pc:sldMk cId="1110778063" sldId="2183"/>
            <ac:spMk id="29" creationId="{D6CA9855-D72B-4D11-80EC-F868C6554660}"/>
          </ac:spMkLst>
        </pc:spChg>
        <pc:spChg chg="del">
          <ac:chgData name="Aurelien Domont" userId="6da7715ce44349b3" providerId="LiveId" clId="{D90A7DA1-CBD6-4900-9895-4316C2CB7C28}" dt="2023-06-14T02:46:59.858" v="85" actId="478"/>
          <ac:spMkLst>
            <pc:docMk/>
            <pc:sldMk cId="1110778063" sldId="2183"/>
            <ac:spMk id="30" creationId="{6C27A78A-73CD-44C6-8CEF-A802B6CEFE07}"/>
          </ac:spMkLst>
        </pc:spChg>
        <pc:spChg chg="add mod">
          <ac:chgData name="Aurelien Domont" userId="6da7715ce44349b3" providerId="LiveId" clId="{D90A7DA1-CBD6-4900-9895-4316C2CB7C28}" dt="2023-06-14T02:47:18.913" v="88"/>
          <ac:spMkLst>
            <pc:docMk/>
            <pc:sldMk cId="1110778063" sldId="2183"/>
            <ac:spMk id="32" creationId="{DE3CB515-9A1A-4855-ADD6-6A3482DCA643}"/>
          </ac:spMkLst>
        </pc:spChg>
        <pc:spChg chg="add mod">
          <ac:chgData name="Aurelien Domont" userId="6da7715ce44349b3" providerId="LiveId" clId="{D90A7DA1-CBD6-4900-9895-4316C2CB7C28}" dt="2023-06-14T02:47:21.697" v="90"/>
          <ac:spMkLst>
            <pc:docMk/>
            <pc:sldMk cId="1110778063" sldId="2183"/>
            <ac:spMk id="33" creationId="{5E0355D4-CA9B-41FF-8F1D-2F0B81B1A9DF}"/>
          </ac:spMkLst>
        </pc:spChg>
        <pc:spChg chg="add mod">
          <ac:chgData name="Aurelien Domont" userId="6da7715ce44349b3" providerId="LiveId" clId="{D90A7DA1-CBD6-4900-9895-4316C2CB7C28}" dt="2023-06-14T02:47:21.697" v="90"/>
          <ac:spMkLst>
            <pc:docMk/>
            <pc:sldMk cId="1110778063" sldId="2183"/>
            <ac:spMk id="34" creationId="{9916C25C-09E7-4D3E-BEA7-AF08F330342E}"/>
          </ac:spMkLst>
        </pc:spChg>
        <pc:spChg chg="add mod">
          <ac:chgData name="Aurelien Domont" userId="6da7715ce44349b3" providerId="LiveId" clId="{D90A7DA1-CBD6-4900-9895-4316C2CB7C28}" dt="2023-06-14T02:47:21.697" v="90"/>
          <ac:spMkLst>
            <pc:docMk/>
            <pc:sldMk cId="1110778063" sldId="2183"/>
            <ac:spMk id="35" creationId="{604A0ABB-287B-4457-99A4-4368E44476D2}"/>
          </ac:spMkLst>
        </pc:spChg>
        <pc:spChg chg="add mod">
          <ac:chgData name="Aurelien Domont" userId="6da7715ce44349b3" providerId="LiveId" clId="{D90A7DA1-CBD6-4900-9895-4316C2CB7C28}" dt="2023-06-14T02:47:21.697" v="90"/>
          <ac:spMkLst>
            <pc:docMk/>
            <pc:sldMk cId="1110778063" sldId="2183"/>
            <ac:spMk id="36" creationId="{B74E8557-B4D2-4C3C-BD6B-B78064157807}"/>
          </ac:spMkLst>
        </pc:spChg>
        <pc:spChg chg="add mod">
          <ac:chgData name="Aurelien Domont" userId="6da7715ce44349b3" providerId="LiveId" clId="{D90A7DA1-CBD6-4900-9895-4316C2CB7C28}" dt="2023-06-14T02:47:21.697" v="90"/>
          <ac:spMkLst>
            <pc:docMk/>
            <pc:sldMk cId="1110778063" sldId="2183"/>
            <ac:spMk id="37" creationId="{3D1745D7-07C0-4FB9-807D-CB5A00FAC0D4}"/>
          </ac:spMkLst>
        </pc:spChg>
        <pc:spChg chg="add mod">
          <ac:chgData name="Aurelien Domont" userId="6da7715ce44349b3" providerId="LiveId" clId="{D90A7DA1-CBD6-4900-9895-4316C2CB7C28}" dt="2023-06-14T02:47:21.697" v="90"/>
          <ac:spMkLst>
            <pc:docMk/>
            <pc:sldMk cId="1110778063" sldId="2183"/>
            <ac:spMk id="38" creationId="{1759B90E-9998-4A98-96B3-E630FA0AA94F}"/>
          </ac:spMkLst>
        </pc:spChg>
        <pc:spChg chg="del">
          <ac:chgData name="Aurelien Domont" userId="6da7715ce44349b3" providerId="LiveId" clId="{D90A7DA1-CBD6-4900-9895-4316C2CB7C28}" dt="2023-06-14T02:46:59.858" v="85" actId="478"/>
          <ac:spMkLst>
            <pc:docMk/>
            <pc:sldMk cId="1110778063" sldId="2183"/>
            <ac:spMk id="41" creationId="{CE45E3D6-9041-45D6-91D8-4D4267DB2228}"/>
          </ac:spMkLst>
        </pc:spChg>
        <pc:spChg chg="del">
          <ac:chgData name="Aurelien Domont" userId="6da7715ce44349b3" providerId="LiveId" clId="{D90A7DA1-CBD6-4900-9895-4316C2CB7C28}" dt="2023-06-14T02:46:59.858" v="85" actId="478"/>
          <ac:spMkLst>
            <pc:docMk/>
            <pc:sldMk cId="1110778063" sldId="2183"/>
            <ac:spMk id="52" creationId="{56FE76F5-145A-49DB-AB26-48DFCAB68A11}"/>
          </ac:spMkLst>
        </pc:spChg>
        <pc:spChg chg="del">
          <ac:chgData name="Aurelien Domont" userId="6da7715ce44349b3" providerId="LiveId" clId="{D90A7DA1-CBD6-4900-9895-4316C2CB7C28}" dt="2023-06-14T02:46:59.858" v="85" actId="478"/>
          <ac:spMkLst>
            <pc:docMk/>
            <pc:sldMk cId="1110778063" sldId="2183"/>
            <ac:spMk id="53" creationId="{6A4D7ECE-D6AA-4217-8BC1-9363C24C3F2B}"/>
          </ac:spMkLst>
        </pc:spChg>
        <pc:spChg chg="del">
          <ac:chgData name="Aurelien Domont" userId="6da7715ce44349b3" providerId="LiveId" clId="{D90A7DA1-CBD6-4900-9895-4316C2CB7C28}" dt="2023-06-14T02:46:59.858" v="85" actId="478"/>
          <ac:spMkLst>
            <pc:docMk/>
            <pc:sldMk cId="1110778063" sldId="2183"/>
            <ac:spMk id="54" creationId="{7CA7C3E6-FEB2-419D-90E2-E189795D3871}"/>
          </ac:spMkLst>
        </pc:spChg>
        <pc:spChg chg="del">
          <ac:chgData name="Aurelien Domont" userId="6da7715ce44349b3" providerId="LiveId" clId="{D90A7DA1-CBD6-4900-9895-4316C2CB7C28}" dt="2023-06-14T02:46:59.858" v="85" actId="478"/>
          <ac:spMkLst>
            <pc:docMk/>
            <pc:sldMk cId="1110778063" sldId="2183"/>
            <ac:spMk id="55" creationId="{E2918A8C-DA5C-4EA6-BEA8-E2723D2ED25E}"/>
          </ac:spMkLst>
        </pc:spChg>
        <pc:spChg chg="del">
          <ac:chgData name="Aurelien Domont" userId="6da7715ce44349b3" providerId="LiveId" clId="{D90A7DA1-CBD6-4900-9895-4316C2CB7C28}" dt="2023-06-14T02:46:59.858" v="85" actId="478"/>
          <ac:spMkLst>
            <pc:docMk/>
            <pc:sldMk cId="1110778063" sldId="2183"/>
            <ac:spMk id="56" creationId="{0F5E9FAD-7CE5-478A-8508-63CB2E1F43C8}"/>
          </ac:spMkLst>
        </pc:spChg>
        <pc:spChg chg="del">
          <ac:chgData name="Aurelien Domont" userId="6da7715ce44349b3" providerId="LiveId" clId="{D90A7DA1-CBD6-4900-9895-4316C2CB7C28}" dt="2023-06-14T02:46:59.858" v="85" actId="478"/>
          <ac:spMkLst>
            <pc:docMk/>
            <pc:sldMk cId="1110778063" sldId="2183"/>
            <ac:spMk id="58" creationId="{C84BE2B9-6547-40A6-BB5B-8454CC14468F}"/>
          </ac:spMkLst>
        </pc:spChg>
        <pc:spChg chg="add mod">
          <ac:chgData name="Aurelien Domont" userId="6da7715ce44349b3" providerId="LiveId" clId="{D90A7DA1-CBD6-4900-9895-4316C2CB7C28}" dt="2023-06-14T02:47:21.697" v="90"/>
          <ac:spMkLst>
            <pc:docMk/>
            <pc:sldMk cId="1110778063" sldId="2183"/>
            <ac:spMk id="67" creationId="{82935CEA-21C9-44BE-89A1-1DD275DEE428}"/>
          </ac:spMkLst>
        </pc:spChg>
        <pc:spChg chg="add mod">
          <ac:chgData name="Aurelien Domont" userId="6da7715ce44349b3" providerId="LiveId" clId="{D90A7DA1-CBD6-4900-9895-4316C2CB7C28}" dt="2023-06-14T02:47:21.697" v="90"/>
          <ac:spMkLst>
            <pc:docMk/>
            <pc:sldMk cId="1110778063" sldId="2183"/>
            <ac:spMk id="68" creationId="{20722091-B659-4426-A162-6ACB50F42219}"/>
          </ac:spMkLst>
        </pc:spChg>
        <pc:spChg chg="add mod">
          <ac:chgData name="Aurelien Domont" userId="6da7715ce44349b3" providerId="LiveId" clId="{D90A7DA1-CBD6-4900-9895-4316C2CB7C28}" dt="2023-06-14T02:47:21.697" v="90"/>
          <ac:spMkLst>
            <pc:docMk/>
            <pc:sldMk cId="1110778063" sldId="2183"/>
            <ac:spMk id="69" creationId="{EACDCCA8-6DB8-4A7A-8D27-79B2373CAABB}"/>
          </ac:spMkLst>
        </pc:spChg>
        <pc:spChg chg="add mod">
          <ac:chgData name="Aurelien Domont" userId="6da7715ce44349b3" providerId="LiveId" clId="{D90A7DA1-CBD6-4900-9895-4316C2CB7C28}" dt="2023-06-14T02:47:21.697" v="90"/>
          <ac:spMkLst>
            <pc:docMk/>
            <pc:sldMk cId="1110778063" sldId="2183"/>
            <ac:spMk id="70" creationId="{20A3DCD9-A8CB-40F1-A1EE-8E7A2A2117CA}"/>
          </ac:spMkLst>
        </pc:spChg>
        <pc:spChg chg="add mod">
          <ac:chgData name="Aurelien Domont" userId="6da7715ce44349b3" providerId="LiveId" clId="{D90A7DA1-CBD6-4900-9895-4316C2CB7C28}" dt="2023-06-14T02:47:21.697" v="90"/>
          <ac:spMkLst>
            <pc:docMk/>
            <pc:sldMk cId="1110778063" sldId="2183"/>
            <ac:spMk id="71" creationId="{D3BB882D-D5DF-42A2-8327-8121F16902E2}"/>
          </ac:spMkLst>
        </pc:spChg>
        <pc:spChg chg="add mod">
          <ac:chgData name="Aurelien Domont" userId="6da7715ce44349b3" providerId="LiveId" clId="{D90A7DA1-CBD6-4900-9895-4316C2CB7C28}" dt="2023-06-14T02:47:21.697" v="90"/>
          <ac:spMkLst>
            <pc:docMk/>
            <pc:sldMk cId="1110778063" sldId="2183"/>
            <ac:spMk id="73" creationId="{DE3CB515-9A1A-4855-ADD6-6A3482DCA643}"/>
          </ac:spMkLst>
        </pc:spChg>
        <pc:spChg chg="add del mod">
          <ac:chgData name="Aurelien Domont" userId="6da7715ce44349b3" providerId="LiveId" clId="{D90A7DA1-CBD6-4900-9895-4316C2CB7C28}" dt="2023-06-14T02:47:46.847" v="92"/>
          <ac:spMkLst>
            <pc:docMk/>
            <pc:sldMk cId="1110778063" sldId="2183"/>
            <ac:spMk id="74" creationId="{844EA072-6703-0006-D5CA-43DCC5CA328B}"/>
          </ac:spMkLst>
        </pc:spChg>
        <pc:spChg chg="add del mod">
          <ac:chgData name="Aurelien Domont" userId="6da7715ce44349b3" providerId="LiveId" clId="{D90A7DA1-CBD6-4900-9895-4316C2CB7C28}" dt="2023-06-14T02:47:46.847" v="92"/>
          <ac:spMkLst>
            <pc:docMk/>
            <pc:sldMk cId="1110778063" sldId="2183"/>
            <ac:spMk id="75" creationId="{9B57FEBF-9582-063B-4449-AF21DACD0081}"/>
          </ac:spMkLst>
        </pc:spChg>
        <pc:spChg chg="add del mod">
          <ac:chgData name="Aurelien Domont" userId="6da7715ce44349b3" providerId="LiveId" clId="{D90A7DA1-CBD6-4900-9895-4316C2CB7C28}" dt="2023-06-14T02:47:46.847" v="92"/>
          <ac:spMkLst>
            <pc:docMk/>
            <pc:sldMk cId="1110778063" sldId="2183"/>
            <ac:spMk id="76" creationId="{A752A3CB-A055-D37D-50CD-EAD31270E361}"/>
          </ac:spMkLst>
        </pc:spChg>
        <pc:spChg chg="add del mod">
          <ac:chgData name="Aurelien Domont" userId="6da7715ce44349b3" providerId="LiveId" clId="{D90A7DA1-CBD6-4900-9895-4316C2CB7C28}" dt="2023-06-14T02:47:46.847" v="92"/>
          <ac:spMkLst>
            <pc:docMk/>
            <pc:sldMk cId="1110778063" sldId="2183"/>
            <ac:spMk id="77" creationId="{DDC4C281-7527-2F2E-E92C-B6E3A27348DE}"/>
          </ac:spMkLst>
        </pc:spChg>
        <pc:spChg chg="add del mod">
          <ac:chgData name="Aurelien Domont" userId="6da7715ce44349b3" providerId="LiveId" clId="{D90A7DA1-CBD6-4900-9895-4316C2CB7C28}" dt="2023-06-14T02:47:46.847" v="92"/>
          <ac:spMkLst>
            <pc:docMk/>
            <pc:sldMk cId="1110778063" sldId="2183"/>
            <ac:spMk id="78" creationId="{0D47FEC0-6D8E-7423-8ECD-3E9503E247BB}"/>
          </ac:spMkLst>
        </pc:spChg>
        <pc:spChg chg="add del mod">
          <ac:chgData name="Aurelien Domont" userId="6da7715ce44349b3" providerId="LiveId" clId="{D90A7DA1-CBD6-4900-9895-4316C2CB7C28}" dt="2023-06-14T02:47:46.847" v="92"/>
          <ac:spMkLst>
            <pc:docMk/>
            <pc:sldMk cId="1110778063" sldId="2183"/>
            <ac:spMk id="79" creationId="{2D26BBA3-A8BD-E2A5-8B53-638037DD5918}"/>
          </ac:spMkLst>
        </pc:spChg>
        <pc:spChg chg="add del mod">
          <ac:chgData name="Aurelien Domont" userId="6da7715ce44349b3" providerId="LiveId" clId="{D90A7DA1-CBD6-4900-9895-4316C2CB7C28}" dt="2023-06-14T02:47:46.847" v="92"/>
          <ac:spMkLst>
            <pc:docMk/>
            <pc:sldMk cId="1110778063" sldId="2183"/>
            <ac:spMk id="90" creationId="{E2CB8D97-136E-C8B5-E92D-276904A871E6}"/>
          </ac:spMkLst>
        </pc:spChg>
        <pc:spChg chg="add del mod">
          <ac:chgData name="Aurelien Domont" userId="6da7715ce44349b3" providerId="LiveId" clId="{D90A7DA1-CBD6-4900-9895-4316C2CB7C28}" dt="2023-06-14T02:47:46.847" v="92"/>
          <ac:spMkLst>
            <pc:docMk/>
            <pc:sldMk cId="1110778063" sldId="2183"/>
            <ac:spMk id="91" creationId="{912C7CA7-8E00-28BC-1CCF-C90977E41536}"/>
          </ac:spMkLst>
        </pc:spChg>
        <pc:spChg chg="add del mod">
          <ac:chgData name="Aurelien Domont" userId="6da7715ce44349b3" providerId="LiveId" clId="{D90A7DA1-CBD6-4900-9895-4316C2CB7C28}" dt="2023-06-14T02:47:46.847" v="92"/>
          <ac:spMkLst>
            <pc:docMk/>
            <pc:sldMk cId="1110778063" sldId="2183"/>
            <ac:spMk id="92" creationId="{AD4A934A-0A9E-023A-B4F8-DC59EC866BE6}"/>
          </ac:spMkLst>
        </pc:spChg>
        <pc:spChg chg="add del mod">
          <ac:chgData name="Aurelien Domont" userId="6da7715ce44349b3" providerId="LiveId" clId="{D90A7DA1-CBD6-4900-9895-4316C2CB7C28}" dt="2023-06-14T02:47:46.847" v="92"/>
          <ac:spMkLst>
            <pc:docMk/>
            <pc:sldMk cId="1110778063" sldId="2183"/>
            <ac:spMk id="93" creationId="{969DD093-F827-95DB-AE05-32DF4C8D5131}"/>
          </ac:spMkLst>
        </pc:spChg>
        <pc:spChg chg="add mod">
          <ac:chgData name="Aurelien Domont" userId="6da7715ce44349b3" providerId="LiveId" clId="{D90A7DA1-CBD6-4900-9895-4316C2CB7C28}" dt="2023-06-14T02:47:52.651" v="93"/>
          <ac:spMkLst>
            <pc:docMk/>
            <pc:sldMk cId="1110778063" sldId="2183"/>
            <ac:spMk id="95" creationId="{F9AEBB61-023F-033E-4A3C-8A423C7DD159}"/>
          </ac:spMkLst>
        </pc:spChg>
        <pc:spChg chg="add mod">
          <ac:chgData name="Aurelien Domont" userId="6da7715ce44349b3" providerId="LiveId" clId="{D90A7DA1-CBD6-4900-9895-4316C2CB7C28}" dt="2023-06-14T02:47:52.651" v="93"/>
          <ac:spMkLst>
            <pc:docMk/>
            <pc:sldMk cId="1110778063" sldId="2183"/>
            <ac:spMk id="96" creationId="{A248D930-7E21-E3A9-4FF5-F1E252F75964}"/>
          </ac:spMkLst>
        </pc:spChg>
        <pc:spChg chg="add mod">
          <ac:chgData name="Aurelien Domont" userId="6da7715ce44349b3" providerId="LiveId" clId="{D90A7DA1-CBD6-4900-9895-4316C2CB7C28}" dt="2023-06-14T02:47:52.651" v="93"/>
          <ac:spMkLst>
            <pc:docMk/>
            <pc:sldMk cId="1110778063" sldId="2183"/>
            <ac:spMk id="97" creationId="{46989CD0-7D4F-7C5B-33A8-5135BF242C7B}"/>
          </ac:spMkLst>
        </pc:spChg>
        <pc:spChg chg="add mod">
          <ac:chgData name="Aurelien Domont" userId="6da7715ce44349b3" providerId="LiveId" clId="{D90A7DA1-CBD6-4900-9895-4316C2CB7C28}" dt="2023-06-14T02:47:52.651" v="93"/>
          <ac:spMkLst>
            <pc:docMk/>
            <pc:sldMk cId="1110778063" sldId="2183"/>
            <ac:spMk id="98" creationId="{3DA023A6-87D7-7548-38A0-DE3CC2D9B6BA}"/>
          </ac:spMkLst>
        </pc:spChg>
        <pc:spChg chg="add mod">
          <ac:chgData name="Aurelien Domont" userId="6da7715ce44349b3" providerId="LiveId" clId="{D90A7DA1-CBD6-4900-9895-4316C2CB7C28}" dt="2023-06-14T02:47:52.651" v="93"/>
          <ac:spMkLst>
            <pc:docMk/>
            <pc:sldMk cId="1110778063" sldId="2183"/>
            <ac:spMk id="99" creationId="{E3DE9418-DD80-BF8D-78ED-060C795B8A83}"/>
          </ac:spMkLst>
        </pc:spChg>
        <pc:spChg chg="add mod">
          <ac:chgData name="Aurelien Domont" userId="6da7715ce44349b3" providerId="LiveId" clId="{D90A7DA1-CBD6-4900-9895-4316C2CB7C28}" dt="2023-06-14T02:47:52.651" v="93"/>
          <ac:spMkLst>
            <pc:docMk/>
            <pc:sldMk cId="1110778063" sldId="2183"/>
            <ac:spMk id="100" creationId="{441726F8-A105-D82D-A799-6F21C5860ACD}"/>
          </ac:spMkLst>
        </pc:spChg>
        <pc:spChg chg="add mod">
          <ac:chgData name="Aurelien Domont" userId="6da7715ce44349b3" providerId="LiveId" clId="{D90A7DA1-CBD6-4900-9895-4316C2CB7C28}" dt="2023-06-14T02:47:52.651" v="93"/>
          <ac:spMkLst>
            <pc:docMk/>
            <pc:sldMk cId="1110778063" sldId="2183"/>
            <ac:spMk id="111" creationId="{8B90E3BF-32EA-D803-9E16-063B3441F850}"/>
          </ac:spMkLst>
        </pc:spChg>
        <pc:spChg chg="add mod">
          <ac:chgData name="Aurelien Domont" userId="6da7715ce44349b3" providerId="LiveId" clId="{D90A7DA1-CBD6-4900-9895-4316C2CB7C28}" dt="2023-06-14T02:47:52.651" v="93"/>
          <ac:spMkLst>
            <pc:docMk/>
            <pc:sldMk cId="1110778063" sldId="2183"/>
            <ac:spMk id="112" creationId="{54EC6DDE-A900-8FA9-3359-552ABCFADAC2}"/>
          </ac:spMkLst>
        </pc:spChg>
        <pc:spChg chg="add mod">
          <ac:chgData name="Aurelien Domont" userId="6da7715ce44349b3" providerId="LiveId" clId="{D90A7DA1-CBD6-4900-9895-4316C2CB7C28}" dt="2023-06-14T02:47:52.651" v="93"/>
          <ac:spMkLst>
            <pc:docMk/>
            <pc:sldMk cId="1110778063" sldId="2183"/>
            <ac:spMk id="113" creationId="{F77CD519-21C9-7E80-8028-F5743DFB0A58}"/>
          </ac:spMkLst>
        </pc:spChg>
        <pc:spChg chg="add mod">
          <ac:chgData name="Aurelien Domont" userId="6da7715ce44349b3" providerId="LiveId" clId="{D90A7DA1-CBD6-4900-9895-4316C2CB7C28}" dt="2023-06-14T02:47:52.651" v="93"/>
          <ac:spMkLst>
            <pc:docMk/>
            <pc:sldMk cId="1110778063" sldId="2183"/>
            <ac:spMk id="114" creationId="{82408C3F-8759-38DB-6B83-3C735466E726}"/>
          </ac:spMkLst>
        </pc:spChg>
        <pc:spChg chg="add mod">
          <ac:chgData name="Aurelien Domont" userId="6da7715ce44349b3" providerId="LiveId" clId="{D90A7DA1-CBD6-4900-9895-4316C2CB7C28}" dt="2023-06-14T02:47:52.651" v="93"/>
          <ac:spMkLst>
            <pc:docMk/>
            <pc:sldMk cId="1110778063" sldId="2183"/>
            <ac:spMk id="115" creationId="{FA5C7A81-33EC-9983-1408-7B7A28A339E2}"/>
          </ac:spMkLst>
        </pc:spChg>
        <pc:spChg chg="add mod">
          <ac:chgData name="Aurelien Domont" userId="6da7715ce44349b3" providerId="LiveId" clId="{D90A7DA1-CBD6-4900-9895-4316C2CB7C28}" dt="2023-06-14T02:47:52.651" v="93"/>
          <ac:spMkLst>
            <pc:docMk/>
            <pc:sldMk cId="1110778063" sldId="2183"/>
            <ac:spMk id="117" creationId="{2A83E213-4DB3-E302-B919-A89C0C8EE9E0}"/>
          </ac:spMkLst>
        </pc:spChg>
        <pc:picChg chg="add mod">
          <ac:chgData name="Aurelien Domont" userId="6da7715ce44349b3" providerId="LiveId" clId="{D90A7DA1-CBD6-4900-9895-4316C2CB7C28}" dt="2023-06-14T02:47:18.913" v="88"/>
          <ac:picMkLst>
            <pc:docMk/>
            <pc:sldMk cId="1110778063" sldId="2183"/>
            <ac:picMk id="9" creationId="{384BDE61-ED8C-4CC3-8B3E-9F61C4FAAC4A}"/>
          </ac:picMkLst>
        </pc:picChg>
        <pc:picChg chg="add mod">
          <ac:chgData name="Aurelien Domont" userId="6da7715ce44349b3" providerId="LiveId" clId="{D90A7DA1-CBD6-4900-9895-4316C2CB7C28}" dt="2023-06-14T02:47:18.913" v="88"/>
          <ac:picMkLst>
            <pc:docMk/>
            <pc:sldMk cId="1110778063" sldId="2183"/>
            <ac:picMk id="10" creationId="{F0084D1B-90AB-4B7A-A82E-EF1A6F71C456}"/>
          </ac:picMkLst>
        </pc:picChg>
        <pc:picChg chg="add mod">
          <ac:chgData name="Aurelien Domont" userId="6da7715ce44349b3" providerId="LiveId" clId="{D90A7DA1-CBD6-4900-9895-4316C2CB7C28}" dt="2023-06-14T02:47:18.913" v="88"/>
          <ac:picMkLst>
            <pc:docMk/>
            <pc:sldMk cId="1110778063" sldId="2183"/>
            <ac:picMk id="11" creationId="{94921AF3-8055-4670-B049-283F79FEE9AB}"/>
          </ac:picMkLst>
        </pc:picChg>
        <pc:picChg chg="add mod">
          <ac:chgData name="Aurelien Domont" userId="6da7715ce44349b3" providerId="LiveId" clId="{D90A7DA1-CBD6-4900-9895-4316C2CB7C28}" dt="2023-06-14T02:47:18.913" v="88"/>
          <ac:picMkLst>
            <pc:docMk/>
            <pc:sldMk cId="1110778063" sldId="2183"/>
            <ac:picMk id="12" creationId="{0BE8AADE-9204-4D5D-8ABE-9EE4EC1BF936}"/>
          </ac:picMkLst>
        </pc:picChg>
        <pc:picChg chg="add mod">
          <ac:chgData name="Aurelien Domont" userId="6da7715ce44349b3" providerId="LiveId" clId="{D90A7DA1-CBD6-4900-9895-4316C2CB7C28}" dt="2023-06-14T02:47:18.913" v="88"/>
          <ac:picMkLst>
            <pc:docMk/>
            <pc:sldMk cId="1110778063" sldId="2183"/>
            <ac:picMk id="14" creationId="{1B4E7BCD-84DF-4DE9-9DD8-1A2C9E2201B4}"/>
          </ac:picMkLst>
        </pc:picChg>
        <pc:picChg chg="add mod">
          <ac:chgData name="Aurelien Domont" userId="6da7715ce44349b3" providerId="LiveId" clId="{D90A7DA1-CBD6-4900-9895-4316C2CB7C28}" dt="2023-06-14T02:47:18.913" v="88"/>
          <ac:picMkLst>
            <pc:docMk/>
            <pc:sldMk cId="1110778063" sldId="2183"/>
            <ac:picMk id="31" creationId="{6C8DA13F-15F1-4D0C-90A3-85268425A07C}"/>
          </ac:picMkLst>
        </pc:picChg>
        <pc:picChg chg="add mod">
          <ac:chgData name="Aurelien Domont" userId="6da7715ce44349b3" providerId="LiveId" clId="{D90A7DA1-CBD6-4900-9895-4316C2CB7C28}" dt="2023-06-14T02:47:21.697" v="90"/>
          <ac:picMkLst>
            <pc:docMk/>
            <pc:sldMk cId="1110778063" sldId="2183"/>
            <ac:picMk id="39" creationId="{384BDE61-ED8C-4CC3-8B3E-9F61C4FAAC4A}"/>
          </ac:picMkLst>
        </pc:picChg>
        <pc:picChg chg="add mod">
          <ac:chgData name="Aurelien Domont" userId="6da7715ce44349b3" providerId="LiveId" clId="{D90A7DA1-CBD6-4900-9895-4316C2CB7C28}" dt="2023-06-14T02:47:21.697" v="90"/>
          <ac:picMkLst>
            <pc:docMk/>
            <pc:sldMk cId="1110778063" sldId="2183"/>
            <ac:picMk id="40" creationId="{F0084D1B-90AB-4B7A-A82E-EF1A6F71C456}"/>
          </ac:picMkLst>
        </pc:picChg>
        <pc:picChg chg="del">
          <ac:chgData name="Aurelien Domont" userId="6da7715ce44349b3" providerId="LiveId" clId="{D90A7DA1-CBD6-4900-9895-4316C2CB7C28}" dt="2023-06-14T02:46:59.858" v="85" actId="478"/>
          <ac:picMkLst>
            <pc:docMk/>
            <pc:sldMk cId="1110778063" sldId="2183"/>
            <ac:picMk id="42" creationId="{9044EE19-F699-4CFF-8E99-31257F0E56F5}"/>
          </ac:picMkLst>
        </pc:picChg>
        <pc:picChg chg="del">
          <ac:chgData name="Aurelien Domont" userId="6da7715ce44349b3" providerId="LiveId" clId="{D90A7DA1-CBD6-4900-9895-4316C2CB7C28}" dt="2023-06-14T02:47:02.262" v="86" actId="478"/>
          <ac:picMkLst>
            <pc:docMk/>
            <pc:sldMk cId="1110778063" sldId="2183"/>
            <ac:picMk id="43" creationId="{0ACC477C-4B51-4B08-A24D-8274469B320A}"/>
          </ac:picMkLst>
        </pc:picChg>
        <pc:picChg chg="del">
          <ac:chgData name="Aurelien Domont" userId="6da7715ce44349b3" providerId="LiveId" clId="{D90A7DA1-CBD6-4900-9895-4316C2CB7C28}" dt="2023-06-14T02:46:59.858" v="85" actId="478"/>
          <ac:picMkLst>
            <pc:docMk/>
            <pc:sldMk cId="1110778063" sldId="2183"/>
            <ac:picMk id="44" creationId="{D1C69E18-9095-40BB-82C4-84EE6FF6EEDC}"/>
          </ac:picMkLst>
        </pc:picChg>
        <pc:picChg chg="del">
          <ac:chgData name="Aurelien Domont" userId="6da7715ce44349b3" providerId="LiveId" clId="{D90A7DA1-CBD6-4900-9895-4316C2CB7C28}" dt="2023-06-14T02:46:59.858" v="85" actId="478"/>
          <ac:picMkLst>
            <pc:docMk/>
            <pc:sldMk cId="1110778063" sldId="2183"/>
            <ac:picMk id="45" creationId="{5D118906-30E2-47A3-BDC3-A7C1C76A7FEF}"/>
          </ac:picMkLst>
        </pc:picChg>
        <pc:picChg chg="del">
          <ac:chgData name="Aurelien Domont" userId="6da7715ce44349b3" providerId="LiveId" clId="{D90A7DA1-CBD6-4900-9895-4316C2CB7C28}" dt="2023-06-14T02:46:59.858" v="85" actId="478"/>
          <ac:picMkLst>
            <pc:docMk/>
            <pc:sldMk cId="1110778063" sldId="2183"/>
            <ac:picMk id="46" creationId="{966BCAF6-CFF0-4242-84EE-87067EE55D97}"/>
          </ac:picMkLst>
        </pc:picChg>
        <pc:picChg chg="del">
          <ac:chgData name="Aurelien Domont" userId="6da7715ce44349b3" providerId="LiveId" clId="{D90A7DA1-CBD6-4900-9895-4316C2CB7C28}" dt="2023-06-14T02:46:59.858" v="85" actId="478"/>
          <ac:picMkLst>
            <pc:docMk/>
            <pc:sldMk cId="1110778063" sldId="2183"/>
            <ac:picMk id="57" creationId="{D80BD8CE-718F-4F36-83F5-DEADA6A5B40A}"/>
          </ac:picMkLst>
        </pc:picChg>
        <pc:picChg chg="add mod">
          <ac:chgData name="Aurelien Domont" userId="6da7715ce44349b3" providerId="LiveId" clId="{D90A7DA1-CBD6-4900-9895-4316C2CB7C28}" dt="2023-06-14T02:47:21.697" v="90"/>
          <ac:picMkLst>
            <pc:docMk/>
            <pc:sldMk cId="1110778063" sldId="2183"/>
            <ac:picMk id="59" creationId="{94921AF3-8055-4670-B049-283F79FEE9AB}"/>
          </ac:picMkLst>
        </pc:picChg>
        <pc:picChg chg="add mod">
          <ac:chgData name="Aurelien Domont" userId="6da7715ce44349b3" providerId="LiveId" clId="{D90A7DA1-CBD6-4900-9895-4316C2CB7C28}" dt="2023-06-14T02:47:21.697" v="90"/>
          <ac:picMkLst>
            <pc:docMk/>
            <pc:sldMk cId="1110778063" sldId="2183"/>
            <ac:picMk id="60" creationId="{0BE8AADE-9204-4D5D-8ABE-9EE4EC1BF936}"/>
          </ac:picMkLst>
        </pc:picChg>
        <pc:picChg chg="add mod">
          <ac:chgData name="Aurelien Domont" userId="6da7715ce44349b3" providerId="LiveId" clId="{D90A7DA1-CBD6-4900-9895-4316C2CB7C28}" dt="2023-06-14T02:47:21.697" v="90"/>
          <ac:picMkLst>
            <pc:docMk/>
            <pc:sldMk cId="1110778063" sldId="2183"/>
            <ac:picMk id="61" creationId="{1B4E7BCD-84DF-4DE9-9DD8-1A2C9E2201B4}"/>
          </ac:picMkLst>
        </pc:picChg>
        <pc:picChg chg="add mod">
          <ac:chgData name="Aurelien Domont" userId="6da7715ce44349b3" providerId="LiveId" clId="{D90A7DA1-CBD6-4900-9895-4316C2CB7C28}" dt="2023-06-14T02:47:21.697" v="90"/>
          <ac:picMkLst>
            <pc:docMk/>
            <pc:sldMk cId="1110778063" sldId="2183"/>
            <ac:picMk id="72" creationId="{6C8DA13F-15F1-4D0C-90A3-85268425A07C}"/>
          </ac:picMkLst>
        </pc:picChg>
        <pc:picChg chg="add del mod">
          <ac:chgData name="Aurelien Domont" userId="6da7715ce44349b3" providerId="LiveId" clId="{D90A7DA1-CBD6-4900-9895-4316C2CB7C28}" dt="2023-06-14T02:47:46.847" v="92"/>
          <ac:picMkLst>
            <pc:docMk/>
            <pc:sldMk cId="1110778063" sldId="2183"/>
            <ac:picMk id="80" creationId="{A6B2407A-6EA5-F136-0694-2BAA98412FF2}"/>
          </ac:picMkLst>
        </pc:picChg>
        <pc:picChg chg="add del mod">
          <ac:chgData name="Aurelien Domont" userId="6da7715ce44349b3" providerId="LiveId" clId="{D90A7DA1-CBD6-4900-9895-4316C2CB7C28}" dt="2023-06-14T02:47:46.847" v="92"/>
          <ac:picMkLst>
            <pc:docMk/>
            <pc:sldMk cId="1110778063" sldId="2183"/>
            <ac:picMk id="81" creationId="{07035A9C-230C-7F30-9E8C-492A1E3BDBA6}"/>
          </ac:picMkLst>
        </pc:picChg>
        <pc:picChg chg="add del mod">
          <ac:chgData name="Aurelien Domont" userId="6da7715ce44349b3" providerId="LiveId" clId="{D90A7DA1-CBD6-4900-9895-4316C2CB7C28}" dt="2023-06-14T02:47:46.847" v="92"/>
          <ac:picMkLst>
            <pc:docMk/>
            <pc:sldMk cId="1110778063" sldId="2183"/>
            <ac:picMk id="82" creationId="{A63D164F-2814-3703-EB75-EB0E9859531D}"/>
          </ac:picMkLst>
        </pc:picChg>
        <pc:picChg chg="add del mod">
          <ac:chgData name="Aurelien Domont" userId="6da7715ce44349b3" providerId="LiveId" clId="{D90A7DA1-CBD6-4900-9895-4316C2CB7C28}" dt="2023-06-14T02:47:46.847" v="92"/>
          <ac:picMkLst>
            <pc:docMk/>
            <pc:sldMk cId="1110778063" sldId="2183"/>
            <ac:picMk id="83" creationId="{4EF10458-06E3-D464-B5D6-EB0D8285A126}"/>
          </ac:picMkLst>
        </pc:picChg>
        <pc:picChg chg="add del mod">
          <ac:chgData name="Aurelien Domont" userId="6da7715ce44349b3" providerId="LiveId" clId="{D90A7DA1-CBD6-4900-9895-4316C2CB7C28}" dt="2023-06-14T02:47:46.847" v="92"/>
          <ac:picMkLst>
            <pc:docMk/>
            <pc:sldMk cId="1110778063" sldId="2183"/>
            <ac:picMk id="84" creationId="{C21DCAAC-4353-B59B-640C-2A9AEB711E5A}"/>
          </ac:picMkLst>
        </pc:picChg>
        <pc:picChg chg="add del mod">
          <ac:chgData name="Aurelien Domont" userId="6da7715ce44349b3" providerId="LiveId" clId="{D90A7DA1-CBD6-4900-9895-4316C2CB7C28}" dt="2023-06-14T02:47:46.847" v="92"/>
          <ac:picMkLst>
            <pc:docMk/>
            <pc:sldMk cId="1110778063" sldId="2183"/>
            <ac:picMk id="94" creationId="{AFE9429A-76A2-1332-F322-D06EFB96BA21}"/>
          </ac:picMkLst>
        </pc:picChg>
        <pc:picChg chg="add mod">
          <ac:chgData name="Aurelien Domont" userId="6da7715ce44349b3" providerId="LiveId" clId="{D90A7DA1-CBD6-4900-9895-4316C2CB7C28}" dt="2023-06-14T02:47:52.651" v="93"/>
          <ac:picMkLst>
            <pc:docMk/>
            <pc:sldMk cId="1110778063" sldId="2183"/>
            <ac:picMk id="101" creationId="{A9D951C8-38DB-75FC-75CA-B9A0AF75EBFA}"/>
          </ac:picMkLst>
        </pc:picChg>
        <pc:picChg chg="add mod">
          <ac:chgData name="Aurelien Domont" userId="6da7715ce44349b3" providerId="LiveId" clId="{D90A7DA1-CBD6-4900-9895-4316C2CB7C28}" dt="2023-06-14T02:47:52.651" v="93"/>
          <ac:picMkLst>
            <pc:docMk/>
            <pc:sldMk cId="1110778063" sldId="2183"/>
            <ac:picMk id="102" creationId="{50C66AAC-EA17-4A24-94E6-7442FBFA6487}"/>
          </ac:picMkLst>
        </pc:picChg>
        <pc:picChg chg="add mod">
          <ac:chgData name="Aurelien Domont" userId="6da7715ce44349b3" providerId="LiveId" clId="{D90A7DA1-CBD6-4900-9895-4316C2CB7C28}" dt="2023-06-14T02:47:52.651" v="93"/>
          <ac:picMkLst>
            <pc:docMk/>
            <pc:sldMk cId="1110778063" sldId="2183"/>
            <ac:picMk id="103" creationId="{0E0921E1-4494-158C-AF25-EB78959B4F5D}"/>
          </ac:picMkLst>
        </pc:picChg>
        <pc:picChg chg="add mod">
          <ac:chgData name="Aurelien Domont" userId="6da7715ce44349b3" providerId="LiveId" clId="{D90A7DA1-CBD6-4900-9895-4316C2CB7C28}" dt="2023-06-14T02:47:52.651" v="93"/>
          <ac:picMkLst>
            <pc:docMk/>
            <pc:sldMk cId="1110778063" sldId="2183"/>
            <ac:picMk id="104" creationId="{DBC1E9AD-5CF0-635C-4EAA-B45C02F56230}"/>
          </ac:picMkLst>
        </pc:picChg>
        <pc:picChg chg="add mod">
          <ac:chgData name="Aurelien Domont" userId="6da7715ce44349b3" providerId="LiveId" clId="{D90A7DA1-CBD6-4900-9895-4316C2CB7C28}" dt="2023-06-14T02:47:52.651" v="93"/>
          <ac:picMkLst>
            <pc:docMk/>
            <pc:sldMk cId="1110778063" sldId="2183"/>
            <ac:picMk id="105" creationId="{7CA57716-298D-7F00-9A72-18A7B317FB2F}"/>
          </ac:picMkLst>
        </pc:picChg>
        <pc:picChg chg="add mod">
          <ac:chgData name="Aurelien Domont" userId="6da7715ce44349b3" providerId="LiveId" clId="{D90A7DA1-CBD6-4900-9895-4316C2CB7C28}" dt="2023-06-14T02:47:52.651" v="93"/>
          <ac:picMkLst>
            <pc:docMk/>
            <pc:sldMk cId="1110778063" sldId="2183"/>
            <ac:picMk id="116" creationId="{FC49EC94-2E2F-63FE-73B6-FBC21F71E34C}"/>
          </ac:picMkLst>
        </pc:picChg>
        <pc:cxnChg chg="add mod">
          <ac:chgData name="Aurelien Domont" userId="6da7715ce44349b3" providerId="LiveId" clId="{D90A7DA1-CBD6-4900-9895-4316C2CB7C28}" dt="2023-06-14T02:47:18.913" v="88"/>
          <ac:cxnSpMkLst>
            <pc:docMk/>
            <pc:sldMk cId="1110778063" sldId="2183"/>
            <ac:cxnSpMk id="15" creationId="{529BD7AC-738F-49A2-BFF8-26F3BBF28E1E}"/>
          </ac:cxnSpMkLst>
        </pc:cxnChg>
        <pc:cxnChg chg="add mod">
          <ac:chgData name="Aurelien Domont" userId="6da7715ce44349b3" providerId="LiveId" clId="{D90A7DA1-CBD6-4900-9895-4316C2CB7C28}" dt="2023-06-14T02:47:18.913" v="88"/>
          <ac:cxnSpMkLst>
            <pc:docMk/>
            <pc:sldMk cId="1110778063" sldId="2183"/>
            <ac:cxnSpMk id="17" creationId="{C30E51FF-9A28-4289-B0AC-BD0E614CD710}"/>
          </ac:cxnSpMkLst>
        </pc:cxnChg>
        <pc:cxnChg chg="add mod">
          <ac:chgData name="Aurelien Domont" userId="6da7715ce44349b3" providerId="LiveId" clId="{D90A7DA1-CBD6-4900-9895-4316C2CB7C28}" dt="2023-06-14T02:47:18.913" v="88"/>
          <ac:cxnSpMkLst>
            <pc:docMk/>
            <pc:sldMk cId="1110778063" sldId="2183"/>
            <ac:cxnSpMk id="18" creationId="{669535E9-A1D4-4109-8C9D-299A116DFA8E}"/>
          </ac:cxnSpMkLst>
        </pc:cxnChg>
        <pc:cxnChg chg="add mod">
          <ac:chgData name="Aurelien Domont" userId="6da7715ce44349b3" providerId="LiveId" clId="{D90A7DA1-CBD6-4900-9895-4316C2CB7C28}" dt="2023-06-14T02:47:18.913" v="88"/>
          <ac:cxnSpMkLst>
            <pc:docMk/>
            <pc:sldMk cId="1110778063" sldId="2183"/>
            <ac:cxnSpMk id="19" creationId="{054D8655-593E-4395-91CB-69F4C51282F5}"/>
          </ac:cxnSpMkLst>
        </pc:cxnChg>
        <pc:cxnChg chg="add mod">
          <ac:chgData name="Aurelien Domont" userId="6da7715ce44349b3" providerId="LiveId" clId="{D90A7DA1-CBD6-4900-9895-4316C2CB7C28}" dt="2023-06-14T02:47:18.913" v="88"/>
          <ac:cxnSpMkLst>
            <pc:docMk/>
            <pc:sldMk cId="1110778063" sldId="2183"/>
            <ac:cxnSpMk id="20" creationId="{2B35E93F-6869-4EAA-AFB1-0EE76EF5D6B5}"/>
          </ac:cxnSpMkLst>
        </pc:cxnChg>
        <pc:cxnChg chg="del">
          <ac:chgData name="Aurelien Domont" userId="6da7715ce44349b3" providerId="LiveId" clId="{D90A7DA1-CBD6-4900-9895-4316C2CB7C28}" dt="2023-06-14T02:46:59.858" v="85" actId="478"/>
          <ac:cxnSpMkLst>
            <pc:docMk/>
            <pc:sldMk cId="1110778063" sldId="2183"/>
            <ac:cxnSpMk id="47" creationId="{CB072D90-1EC6-4857-ACBA-CF8AB0CA6DC7}"/>
          </ac:cxnSpMkLst>
        </pc:cxnChg>
        <pc:cxnChg chg="del">
          <ac:chgData name="Aurelien Domont" userId="6da7715ce44349b3" providerId="LiveId" clId="{D90A7DA1-CBD6-4900-9895-4316C2CB7C28}" dt="2023-06-14T02:46:59.858" v="85" actId="478"/>
          <ac:cxnSpMkLst>
            <pc:docMk/>
            <pc:sldMk cId="1110778063" sldId="2183"/>
            <ac:cxnSpMk id="48" creationId="{FFCF5572-65FA-4E1F-A4B7-4E77196CC2B3}"/>
          </ac:cxnSpMkLst>
        </pc:cxnChg>
        <pc:cxnChg chg="del">
          <ac:chgData name="Aurelien Domont" userId="6da7715ce44349b3" providerId="LiveId" clId="{D90A7DA1-CBD6-4900-9895-4316C2CB7C28}" dt="2023-06-14T02:46:59.858" v="85" actId="478"/>
          <ac:cxnSpMkLst>
            <pc:docMk/>
            <pc:sldMk cId="1110778063" sldId="2183"/>
            <ac:cxnSpMk id="49" creationId="{499F5A82-A1EF-4DF9-9AB9-50FB5B1B58E8}"/>
          </ac:cxnSpMkLst>
        </pc:cxnChg>
        <pc:cxnChg chg="del">
          <ac:chgData name="Aurelien Domont" userId="6da7715ce44349b3" providerId="LiveId" clId="{D90A7DA1-CBD6-4900-9895-4316C2CB7C28}" dt="2023-06-14T02:46:59.858" v="85" actId="478"/>
          <ac:cxnSpMkLst>
            <pc:docMk/>
            <pc:sldMk cId="1110778063" sldId="2183"/>
            <ac:cxnSpMk id="50" creationId="{F42BBC86-0BBA-4B77-92C9-8E20E98520AD}"/>
          </ac:cxnSpMkLst>
        </pc:cxnChg>
        <pc:cxnChg chg="del">
          <ac:chgData name="Aurelien Domont" userId="6da7715ce44349b3" providerId="LiveId" clId="{D90A7DA1-CBD6-4900-9895-4316C2CB7C28}" dt="2023-06-14T02:46:59.858" v="85" actId="478"/>
          <ac:cxnSpMkLst>
            <pc:docMk/>
            <pc:sldMk cId="1110778063" sldId="2183"/>
            <ac:cxnSpMk id="51" creationId="{7A54F974-7F9F-4F6F-BADA-582C905FED2D}"/>
          </ac:cxnSpMkLst>
        </pc:cxnChg>
        <pc:cxnChg chg="add mod">
          <ac:chgData name="Aurelien Domont" userId="6da7715ce44349b3" providerId="LiveId" clId="{D90A7DA1-CBD6-4900-9895-4316C2CB7C28}" dt="2023-06-14T02:47:21.697" v="90"/>
          <ac:cxnSpMkLst>
            <pc:docMk/>
            <pc:sldMk cId="1110778063" sldId="2183"/>
            <ac:cxnSpMk id="62" creationId="{529BD7AC-738F-49A2-BFF8-26F3BBF28E1E}"/>
          </ac:cxnSpMkLst>
        </pc:cxnChg>
        <pc:cxnChg chg="add mod">
          <ac:chgData name="Aurelien Domont" userId="6da7715ce44349b3" providerId="LiveId" clId="{D90A7DA1-CBD6-4900-9895-4316C2CB7C28}" dt="2023-06-14T02:47:21.697" v="90"/>
          <ac:cxnSpMkLst>
            <pc:docMk/>
            <pc:sldMk cId="1110778063" sldId="2183"/>
            <ac:cxnSpMk id="63" creationId="{C30E51FF-9A28-4289-B0AC-BD0E614CD710}"/>
          </ac:cxnSpMkLst>
        </pc:cxnChg>
        <pc:cxnChg chg="add mod">
          <ac:chgData name="Aurelien Domont" userId="6da7715ce44349b3" providerId="LiveId" clId="{D90A7DA1-CBD6-4900-9895-4316C2CB7C28}" dt="2023-06-14T02:47:21.697" v="90"/>
          <ac:cxnSpMkLst>
            <pc:docMk/>
            <pc:sldMk cId="1110778063" sldId="2183"/>
            <ac:cxnSpMk id="64" creationId="{669535E9-A1D4-4109-8C9D-299A116DFA8E}"/>
          </ac:cxnSpMkLst>
        </pc:cxnChg>
        <pc:cxnChg chg="add mod">
          <ac:chgData name="Aurelien Domont" userId="6da7715ce44349b3" providerId="LiveId" clId="{D90A7DA1-CBD6-4900-9895-4316C2CB7C28}" dt="2023-06-14T02:47:21.697" v="90"/>
          <ac:cxnSpMkLst>
            <pc:docMk/>
            <pc:sldMk cId="1110778063" sldId="2183"/>
            <ac:cxnSpMk id="65" creationId="{054D8655-593E-4395-91CB-69F4C51282F5}"/>
          </ac:cxnSpMkLst>
        </pc:cxnChg>
        <pc:cxnChg chg="add mod">
          <ac:chgData name="Aurelien Domont" userId="6da7715ce44349b3" providerId="LiveId" clId="{D90A7DA1-CBD6-4900-9895-4316C2CB7C28}" dt="2023-06-14T02:47:21.697" v="90"/>
          <ac:cxnSpMkLst>
            <pc:docMk/>
            <pc:sldMk cId="1110778063" sldId="2183"/>
            <ac:cxnSpMk id="66" creationId="{2B35E93F-6869-4EAA-AFB1-0EE76EF5D6B5}"/>
          </ac:cxnSpMkLst>
        </pc:cxnChg>
        <pc:cxnChg chg="add del mod">
          <ac:chgData name="Aurelien Domont" userId="6da7715ce44349b3" providerId="LiveId" clId="{D90A7DA1-CBD6-4900-9895-4316C2CB7C28}" dt="2023-06-14T02:47:46.847" v="92"/>
          <ac:cxnSpMkLst>
            <pc:docMk/>
            <pc:sldMk cId="1110778063" sldId="2183"/>
            <ac:cxnSpMk id="85" creationId="{932FB435-CE81-AA6B-1C84-5F567683432A}"/>
          </ac:cxnSpMkLst>
        </pc:cxnChg>
        <pc:cxnChg chg="add del mod">
          <ac:chgData name="Aurelien Domont" userId="6da7715ce44349b3" providerId="LiveId" clId="{D90A7DA1-CBD6-4900-9895-4316C2CB7C28}" dt="2023-06-14T02:47:46.847" v="92"/>
          <ac:cxnSpMkLst>
            <pc:docMk/>
            <pc:sldMk cId="1110778063" sldId="2183"/>
            <ac:cxnSpMk id="86" creationId="{769C5877-7E67-3728-8258-7F235CA37A42}"/>
          </ac:cxnSpMkLst>
        </pc:cxnChg>
        <pc:cxnChg chg="add del mod">
          <ac:chgData name="Aurelien Domont" userId="6da7715ce44349b3" providerId="LiveId" clId="{D90A7DA1-CBD6-4900-9895-4316C2CB7C28}" dt="2023-06-14T02:47:46.847" v="92"/>
          <ac:cxnSpMkLst>
            <pc:docMk/>
            <pc:sldMk cId="1110778063" sldId="2183"/>
            <ac:cxnSpMk id="87" creationId="{49D57247-846D-6562-230E-1061339084BA}"/>
          </ac:cxnSpMkLst>
        </pc:cxnChg>
        <pc:cxnChg chg="add del mod">
          <ac:chgData name="Aurelien Domont" userId="6da7715ce44349b3" providerId="LiveId" clId="{D90A7DA1-CBD6-4900-9895-4316C2CB7C28}" dt="2023-06-14T02:47:46.847" v="92"/>
          <ac:cxnSpMkLst>
            <pc:docMk/>
            <pc:sldMk cId="1110778063" sldId="2183"/>
            <ac:cxnSpMk id="88" creationId="{E0AF37CC-5D06-3757-091C-11AE3249E0DB}"/>
          </ac:cxnSpMkLst>
        </pc:cxnChg>
        <pc:cxnChg chg="add del mod">
          <ac:chgData name="Aurelien Domont" userId="6da7715ce44349b3" providerId="LiveId" clId="{D90A7DA1-CBD6-4900-9895-4316C2CB7C28}" dt="2023-06-14T02:47:46.847" v="92"/>
          <ac:cxnSpMkLst>
            <pc:docMk/>
            <pc:sldMk cId="1110778063" sldId="2183"/>
            <ac:cxnSpMk id="89" creationId="{852FB2E7-DA27-A9B4-9A27-957870834E22}"/>
          </ac:cxnSpMkLst>
        </pc:cxnChg>
        <pc:cxnChg chg="add mod">
          <ac:chgData name="Aurelien Domont" userId="6da7715ce44349b3" providerId="LiveId" clId="{D90A7DA1-CBD6-4900-9895-4316C2CB7C28}" dt="2023-06-14T02:47:52.651" v="93"/>
          <ac:cxnSpMkLst>
            <pc:docMk/>
            <pc:sldMk cId="1110778063" sldId="2183"/>
            <ac:cxnSpMk id="106" creationId="{86F3E006-55F4-52CA-7233-A4187AD54EE3}"/>
          </ac:cxnSpMkLst>
        </pc:cxnChg>
        <pc:cxnChg chg="add mod">
          <ac:chgData name="Aurelien Domont" userId="6da7715ce44349b3" providerId="LiveId" clId="{D90A7DA1-CBD6-4900-9895-4316C2CB7C28}" dt="2023-06-14T02:47:52.651" v="93"/>
          <ac:cxnSpMkLst>
            <pc:docMk/>
            <pc:sldMk cId="1110778063" sldId="2183"/>
            <ac:cxnSpMk id="107" creationId="{41A63EF9-A6E2-16FB-980D-0A9426E7031E}"/>
          </ac:cxnSpMkLst>
        </pc:cxnChg>
        <pc:cxnChg chg="add mod">
          <ac:chgData name="Aurelien Domont" userId="6da7715ce44349b3" providerId="LiveId" clId="{D90A7DA1-CBD6-4900-9895-4316C2CB7C28}" dt="2023-06-14T02:47:52.651" v="93"/>
          <ac:cxnSpMkLst>
            <pc:docMk/>
            <pc:sldMk cId="1110778063" sldId="2183"/>
            <ac:cxnSpMk id="108" creationId="{7EFD8137-79CA-104A-B6D7-4336F255F3A8}"/>
          </ac:cxnSpMkLst>
        </pc:cxnChg>
        <pc:cxnChg chg="add mod">
          <ac:chgData name="Aurelien Domont" userId="6da7715ce44349b3" providerId="LiveId" clId="{D90A7DA1-CBD6-4900-9895-4316C2CB7C28}" dt="2023-06-14T02:47:52.651" v="93"/>
          <ac:cxnSpMkLst>
            <pc:docMk/>
            <pc:sldMk cId="1110778063" sldId="2183"/>
            <ac:cxnSpMk id="109" creationId="{B6FD4F9B-C670-D3F7-BE16-565350D00DAD}"/>
          </ac:cxnSpMkLst>
        </pc:cxnChg>
        <pc:cxnChg chg="add mod">
          <ac:chgData name="Aurelien Domont" userId="6da7715ce44349b3" providerId="LiveId" clId="{D90A7DA1-CBD6-4900-9895-4316C2CB7C28}" dt="2023-06-14T02:47:52.651" v="93"/>
          <ac:cxnSpMkLst>
            <pc:docMk/>
            <pc:sldMk cId="1110778063" sldId="2183"/>
            <ac:cxnSpMk id="110" creationId="{B7059F0A-5FAA-611E-6A15-D269EAE54843}"/>
          </ac:cxnSpMkLst>
        </pc:cxnChg>
      </pc:sldChg>
      <pc:sldChg chg="addSp delSp modSp mod">
        <pc:chgData name="Aurelien Domont" userId="6da7715ce44349b3" providerId="LiveId" clId="{D90A7DA1-CBD6-4900-9895-4316C2CB7C28}" dt="2023-06-14T02:48:12.660" v="97" actId="207"/>
        <pc:sldMkLst>
          <pc:docMk/>
          <pc:sldMk cId="762251253" sldId="2250"/>
        </pc:sldMkLst>
        <pc:spChg chg="add mod">
          <ac:chgData name="Aurelien Domont" userId="6da7715ce44349b3" providerId="LiveId" clId="{D90A7DA1-CBD6-4900-9895-4316C2CB7C28}" dt="2023-06-14T02:48:01.778" v="95"/>
          <ac:spMkLst>
            <pc:docMk/>
            <pc:sldMk cId="762251253" sldId="2250"/>
            <ac:spMk id="2" creationId="{33D97927-951B-FDBC-405D-3FFA6888D7A0}"/>
          </ac:spMkLst>
        </pc:spChg>
        <pc:spChg chg="add mod">
          <ac:chgData name="Aurelien Domont" userId="6da7715ce44349b3" providerId="LiveId" clId="{D90A7DA1-CBD6-4900-9895-4316C2CB7C28}" dt="2023-06-14T02:48:01.778" v="95"/>
          <ac:spMkLst>
            <pc:docMk/>
            <pc:sldMk cId="762251253" sldId="2250"/>
            <ac:spMk id="4" creationId="{57A88701-A0A5-713E-7940-085AF5621AFD}"/>
          </ac:spMkLst>
        </pc:spChg>
        <pc:spChg chg="add mod">
          <ac:chgData name="Aurelien Domont" userId="6da7715ce44349b3" providerId="LiveId" clId="{D90A7DA1-CBD6-4900-9895-4316C2CB7C28}" dt="2023-06-14T02:48:01.778" v="95"/>
          <ac:spMkLst>
            <pc:docMk/>
            <pc:sldMk cId="762251253" sldId="2250"/>
            <ac:spMk id="5" creationId="{CAD1D868-AB3C-5455-8159-F8643B596C19}"/>
          </ac:spMkLst>
        </pc:spChg>
        <pc:spChg chg="add mod">
          <ac:chgData name="Aurelien Domont" userId="6da7715ce44349b3" providerId="LiveId" clId="{D90A7DA1-CBD6-4900-9895-4316C2CB7C28}" dt="2023-06-14T02:48:01.778" v="95"/>
          <ac:spMkLst>
            <pc:docMk/>
            <pc:sldMk cId="762251253" sldId="2250"/>
            <ac:spMk id="6" creationId="{3E4293C1-4F6B-A357-5D74-015075BE87A3}"/>
          </ac:spMkLst>
        </pc:spChg>
        <pc:spChg chg="add mod">
          <ac:chgData name="Aurelien Domont" userId="6da7715ce44349b3" providerId="LiveId" clId="{D90A7DA1-CBD6-4900-9895-4316C2CB7C28}" dt="2023-06-14T02:48:01.778" v="95"/>
          <ac:spMkLst>
            <pc:docMk/>
            <pc:sldMk cId="762251253" sldId="2250"/>
            <ac:spMk id="7" creationId="{6C6EF6E1-0290-2C7F-0617-99D6F7C7712C}"/>
          </ac:spMkLst>
        </pc:spChg>
        <pc:spChg chg="add mod">
          <ac:chgData name="Aurelien Domont" userId="6da7715ce44349b3" providerId="LiveId" clId="{D90A7DA1-CBD6-4900-9895-4316C2CB7C28}" dt="2023-06-14T02:48:07.596" v="96" actId="207"/>
          <ac:spMkLst>
            <pc:docMk/>
            <pc:sldMk cId="762251253" sldId="2250"/>
            <ac:spMk id="8" creationId="{FAD28EA6-1E48-682B-483A-1D2D9E557282}"/>
          </ac:spMkLst>
        </pc:spChg>
        <pc:spChg chg="add mod">
          <ac:chgData name="Aurelien Domont" userId="6da7715ce44349b3" providerId="LiveId" clId="{D90A7DA1-CBD6-4900-9895-4316C2CB7C28}" dt="2023-06-14T02:48:12.660" v="97" actId="207"/>
          <ac:spMkLst>
            <pc:docMk/>
            <pc:sldMk cId="762251253" sldId="2250"/>
            <ac:spMk id="21" creationId="{9759BC80-A51A-629C-D18B-EB55E14F4028}"/>
          </ac:spMkLst>
        </pc:spChg>
        <pc:spChg chg="add mod">
          <ac:chgData name="Aurelien Domont" userId="6da7715ce44349b3" providerId="LiveId" clId="{D90A7DA1-CBD6-4900-9895-4316C2CB7C28}" dt="2023-06-14T02:48:01.778" v="95"/>
          <ac:spMkLst>
            <pc:docMk/>
            <pc:sldMk cId="762251253" sldId="2250"/>
            <ac:spMk id="22" creationId="{C4FFAE33-DF0B-2531-6B3F-484725368A6A}"/>
          </ac:spMkLst>
        </pc:spChg>
        <pc:spChg chg="del">
          <ac:chgData name="Aurelien Domont" userId="6da7715ce44349b3" providerId="LiveId" clId="{D90A7DA1-CBD6-4900-9895-4316C2CB7C28}" dt="2023-06-14T02:48:01.132" v="94" actId="478"/>
          <ac:spMkLst>
            <pc:docMk/>
            <pc:sldMk cId="762251253" sldId="2250"/>
            <ac:spMk id="23" creationId="{7406D1DE-5EE9-4F42-82EF-6DA26EBFD296}"/>
          </ac:spMkLst>
        </pc:spChg>
        <pc:spChg chg="add mod">
          <ac:chgData name="Aurelien Domont" userId="6da7715ce44349b3" providerId="LiveId" clId="{D90A7DA1-CBD6-4900-9895-4316C2CB7C28}" dt="2023-06-14T02:48:01.778" v="95"/>
          <ac:spMkLst>
            <pc:docMk/>
            <pc:sldMk cId="762251253" sldId="2250"/>
            <ac:spMk id="24" creationId="{CDFB8376-53D3-488E-62B2-7BEA339725AB}"/>
          </ac:spMkLst>
        </pc:spChg>
        <pc:spChg chg="add mod">
          <ac:chgData name="Aurelien Domont" userId="6da7715ce44349b3" providerId="LiveId" clId="{D90A7DA1-CBD6-4900-9895-4316C2CB7C28}" dt="2023-06-14T02:48:01.778" v="95"/>
          <ac:spMkLst>
            <pc:docMk/>
            <pc:sldMk cId="762251253" sldId="2250"/>
            <ac:spMk id="25" creationId="{11517964-E29F-E01D-939A-1EE093F5D62A}"/>
          </ac:spMkLst>
        </pc:spChg>
        <pc:spChg chg="del">
          <ac:chgData name="Aurelien Domont" userId="6da7715ce44349b3" providerId="LiveId" clId="{D90A7DA1-CBD6-4900-9895-4316C2CB7C28}" dt="2023-06-14T02:48:01.132" v="94" actId="478"/>
          <ac:spMkLst>
            <pc:docMk/>
            <pc:sldMk cId="762251253" sldId="2250"/>
            <ac:spMk id="26" creationId="{106A6A86-2D47-43C4-AFD2-80C96C9FFA89}"/>
          </ac:spMkLst>
        </pc:spChg>
        <pc:spChg chg="del">
          <ac:chgData name="Aurelien Domont" userId="6da7715ce44349b3" providerId="LiveId" clId="{D90A7DA1-CBD6-4900-9895-4316C2CB7C28}" dt="2023-06-14T02:48:01.132" v="94" actId="478"/>
          <ac:spMkLst>
            <pc:docMk/>
            <pc:sldMk cId="762251253" sldId="2250"/>
            <ac:spMk id="27" creationId="{6AD11DA4-7B04-4C1D-8F5D-1111A1DCC8F8}"/>
          </ac:spMkLst>
        </pc:spChg>
        <pc:spChg chg="del">
          <ac:chgData name="Aurelien Domont" userId="6da7715ce44349b3" providerId="LiveId" clId="{D90A7DA1-CBD6-4900-9895-4316C2CB7C28}" dt="2023-06-14T02:48:01.132" v="94" actId="478"/>
          <ac:spMkLst>
            <pc:docMk/>
            <pc:sldMk cId="762251253" sldId="2250"/>
            <ac:spMk id="28" creationId="{F189DD75-313B-496B-BA7D-BB383993060B}"/>
          </ac:spMkLst>
        </pc:spChg>
        <pc:spChg chg="del">
          <ac:chgData name="Aurelien Domont" userId="6da7715ce44349b3" providerId="LiveId" clId="{D90A7DA1-CBD6-4900-9895-4316C2CB7C28}" dt="2023-06-14T02:48:01.132" v="94" actId="478"/>
          <ac:spMkLst>
            <pc:docMk/>
            <pc:sldMk cId="762251253" sldId="2250"/>
            <ac:spMk id="29" creationId="{D6CA9855-D72B-4D11-80EC-F868C6554660}"/>
          </ac:spMkLst>
        </pc:spChg>
        <pc:spChg chg="del">
          <ac:chgData name="Aurelien Domont" userId="6da7715ce44349b3" providerId="LiveId" clId="{D90A7DA1-CBD6-4900-9895-4316C2CB7C28}" dt="2023-06-14T02:48:01.132" v="94" actId="478"/>
          <ac:spMkLst>
            <pc:docMk/>
            <pc:sldMk cId="762251253" sldId="2250"/>
            <ac:spMk id="30" creationId="{6C27A78A-73CD-44C6-8CEF-A802B6CEFE07}"/>
          </ac:spMkLst>
        </pc:spChg>
        <pc:spChg chg="add mod">
          <ac:chgData name="Aurelien Domont" userId="6da7715ce44349b3" providerId="LiveId" clId="{D90A7DA1-CBD6-4900-9895-4316C2CB7C28}" dt="2023-06-14T02:48:01.778" v="95"/>
          <ac:spMkLst>
            <pc:docMk/>
            <pc:sldMk cId="762251253" sldId="2250"/>
            <ac:spMk id="31" creationId="{84366F80-874E-98D9-7CAD-2FD7596B3AC0}"/>
          </ac:spMkLst>
        </pc:spChg>
        <pc:spChg chg="add mod">
          <ac:chgData name="Aurelien Domont" userId="6da7715ce44349b3" providerId="LiveId" clId="{D90A7DA1-CBD6-4900-9895-4316C2CB7C28}" dt="2023-06-14T02:48:01.778" v="95"/>
          <ac:spMkLst>
            <pc:docMk/>
            <pc:sldMk cId="762251253" sldId="2250"/>
            <ac:spMk id="33" creationId="{69D21339-09A4-2A06-3EB3-56BEF01B216F}"/>
          </ac:spMkLst>
        </pc:spChg>
        <pc:spChg chg="del">
          <ac:chgData name="Aurelien Domont" userId="6da7715ce44349b3" providerId="LiveId" clId="{D90A7DA1-CBD6-4900-9895-4316C2CB7C28}" dt="2023-06-14T02:48:01.132" v="94" actId="478"/>
          <ac:spMkLst>
            <pc:docMk/>
            <pc:sldMk cId="762251253" sldId="2250"/>
            <ac:spMk id="41" creationId="{CE45E3D6-9041-45D6-91D8-4D4267DB2228}"/>
          </ac:spMkLst>
        </pc:spChg>
        <pc:spChg chg="del">
          <ac:chgData name="Aurelien Domont" userId="6da7715ce44349b3" providerId="LiveId" clId="{D90A7DA1-CBD6-4900-9895-4316C2CB7C28}" dt="2023-06-14T02:48:01.132" v="94" actId="478"/>
          <ac:spMkLst>
            <pc:docMk/>
            <pc:sldMk cId="762251253" sldId="2250"/>
            <ac:spMk id="52" creationId="{56FE76F5-145A-49DB-AB26-48DFCAB68A11}"/>
          </ac:spMkLst>
        </pc:spChg>
        <pc:spChg chg="del">
          <ac:chgData name="Aurelien Domont" userId="6da7715ce44349b3" providerId="LiveId" clId="{D90A7DA1-CBD6-4900-9895-4316C2CB7C28}" dt="2023-06-14T02:48:01.132" v="94" actId="478"/>
          <ac:spMkLst>
            <pc:docMk/>
            <pc:sldMk cId="762251253" sldId="2250"/>
            <ac:spMk id="53" creationId="{6A4D7ECE-D6AA-4217-8BC1-9363C24C3F2B}"/>
          </ac:spMkLst>
        </pc:spChg>
        <pc:spChg chg="del">
          <ac:chgData name="Aurelien Domont" userId="6da7715ce44349b3" providerId="LiveId" clId="{D90A7DA1-CBD6-4900-9895-4316C2CB7C28}" dt="2023-06-14T02:48:01.132" v="94" actId="478"/>
          <ac:spMkLst>
            <pc:docMk/>
            <pc:sldMk cId="762251253" sldId="2250"/>
            <ac:spMk id="54" creationId="{7CA7C3E6-FEB2-419D-90E2-E189795D3871}"/>
          </ac:spMkLst>
        </pc:spChg>
        <pc:spChg chg="del">
          <ac:chgData name="Aurelien Domont" userId="6da7715ce44349b3" providerId="LiveId" clId="{D90A7DA1-CBD6-4900-9895-4316C2CB7C28}" dt="2023-06-14T02:48:01.132" v="94" actId="478"/>
          <ac:spMkLst>
            <pc:docMk/>
            <pc:sldMk cId="762251253" sldId="2250"/>
            <ac:spMk id="55" creationId="{E2918A8C-DA5C-4EA6-BEA8-E2723D2ED25E}"/>
          </ac:spMkLst>
        </pc:spChg>
        <pc:spChg chg="del">
          <ac:chgData name="Aurelien Domont" userId="6da7715ce44349b3" providerId="LiveId" clId="{D90A7DA1-CBD6-4900-9895-4316C2CB7C28}" dt="2023-06-14T02:48:01.132" v="94" actId="478"/>
          <ac:spMkLst>
            <pc:docMk/>
            <pc:sldMk cId="762251253" sldId="2250"/>
            <ac:spMk id="56" creationId="{0F5E9FAD-7CE5-478A-8508-63CB2E1F43C8}"/>
          </ac:spMkLst>
        </pc:spChg>
        <pc:spChg chg="del">
          <ac:chgData name="Aurelien Domont" userId="6da7715ce44349b3" providerId="LiveId" clId="{D90A7DA1-CBD6-4900-9895-4316C2CB7C28}" dt="2023-06-14T02:48:01.132" v="94" actId="478"/>
          <ac:spMkLst>
            <pc:docMk/>
            <pc:sldMk cId="762251253" sldId="2250"/>
            <ac:spMk id="58" creationId="{C84BE2B9-6547-40A6-BB5B-8454CC14468F}"/>
          </ac:spMkLst>
        </pc:spChg>
        <pc:picChg chg="add mod">
          <ac:chgData name="Aurelien Domont" userId="6da7715ce44349b3" providerId="LiveId" clId="{D90A7DA1-CBD6-4900-9895-4316C2CB7C28}" dt="2023-06-14T02:48:01.778" v="95"/>
          <ac:picMkLst>
            <pc:docMk/>
            <pc:sldMk cId="762251253" sldId="2250"/>
            <ac:picMk id="9" creationId="{721546FE-C935-2E4C-FB18-478B4EA0E761}"/>
          </ac:picMkLst>
        </pc:picChg>
        <pc:picChg chg="add mod">
          <ac:chgData name="Aurelien Domont" userId="6da7715ce44349b3" providerId="LiveId" clId="{D90A7DA1-CBD6-4900-9895-4316C2CB7C28}" dt="2023-06-14T02:48:01.778" v="95"/>
          <ac:picMkLst>
            <pc:docMk/>
            <pc:sldMk cId="762251253" sldId="2250"/>
            <ac:picMk id="10" creationId="{38E8AE53-703F-297B-FADE-47C45584068A}"/>
          </ac:picMkLst>
        </pc:picChg>
        <pc:picChg chg="add mod">
          <ac:chgData name="Aurelien Domont" userId="6da7715ce44349b3" providerId="LiveId" clId="{D90A7DA1-CBD6-4900-9895-4316C2CB7C28}" dt="2023-06-14T02:48:01.778" v="95"/>
          <ac:picMkLst>
            <pc:docMk/>
            <pc:sldMk cId="762251253" sldId="2250"/>
            <ac:picMk id="11" creationId="{BF72BEBC-7607-4D38-8563-C0E0EBC67CFF}"/>
          </ac:picMkLst>
        </pc:picChg>
        <pc:picChg chg="add mod">
          <ac:chgData name="Aurelien Domont" userId="6da7715ce44349b3" providerId="LiveId" clId="{D90A7DA1-CBD6-4900-9895-4316C2CB7C28}" dt="2023-06-14T02:48:01.778" v="95"/>
          <ac:picMkLst>
            <pc:docMk/>
            <pc:sldMk cId="762251253" sldId="2250"/>
            <ac:picMk id="12" creationId="{48D680B0-3230-18D9-C149-1A41497BFFF6}"/>
          </ac:picMkLst>
        </pc:picChg>
        <pc:picChg chg="add mod">
          <ac:chgData name="Aurelien Domont" userId="6da7715ce44349b3" providerId="LiveId" clId="{D90A7DA1-CBD6-4900-9895-4316C2CB7C28}" dt="2023-06-14T02:48:01.778" v="95"/>
          <ac:picMkLst>
            <pc:docMk/>
            <pc:sldMk cId="762251253" sldId="2250"/>
            <ac:picMk id="14" creationId="{8286D6B0-E6B0-25A6-2A38-606C6A43E162}"/>
          </ac:picMkLst>
        </pc:picChg>
        <pc:picChg chg="add mod">
          <ac:chgData name="Aurelien Domont" userId="6da7715ce44349b3" providerId="LiveId" clId="{D90A7DA1-CBD6-4900-9895-4316C2CB7C28}" dt="2023-06-14T02:48:01.778" v="95"/>
          <ac:picMkLst>
            <pc:docMk/>
            <pc:sldMk cId="762251253" sldId="2250"/>
            <ac:picMk id="32" creationId="{1D71B061-859C-D5EC-1851-9CA707B3D204}"/>
          </ac:picMkLst>
        </pc:picChg>
        <pc:picChg chg="del">
          <ac:chgData name="Aurelien Domont" userId="6da7715ce44349b3" providerId="LiveId" clId="{D90A7DA1-CBD6-4900-9895-4316C2CB7C28}" dt="2023-06-14T02:48:01.132" v="94" actId="478"/>
          <ac:picMkLst>
            <pc:docMk/>
            <pc:sldMk cId="762251253" sldId="2250"/>
            <ac:picMk id="42" creationId="{9044EE19-F699-4CFF-8E99-31257F0E56F5}"/>
          </ac:picMkLst>
        </pc:picChg>
        <pc:picChg chg="del">
          <ac:chgData name="Aurelien Domont" userId="6da7715ce44349b3" providerId="LiveId" clId="{D90A7DA1-CBD6-4900-9895-4316C2CB7C28}" dt="2023-06-14T02:48:01.132" v="94" actId="478"/>
          <ac:picMkLst>
            <pc:docMk/>
            <pc:sldMk cId="762251253" sldId="2250"/>
            <ac:picMk id="43" creationId="{0ACC477C-4B51-4B08-A24D-8274469B320A}"/>
          </ac:picMkLst>
        </pc:picChg>
        <pc:picChg chg="del">
          <ac:chgData name="Aurelien Domont" userId="6da7715ce44349b3" providerId="LiveId" clId="{D90A7DA1-CBD6-4900-9895-4316C2CB7C28}" dt="2023-06-14T02:48:01.132" v="94" actId="478"/>
          <ac:picMkLst>
            <pc:docMk/>
            <pc:sldMk cId="762251253" sldId="2250"/>
            <ac:picMk id="44" creationId="{D1C69E18-9095-40BB-82C4-84EE6FF6EEDC}"/>
          </ac:picMkLst>
        </pc:picChg>
        <pc:picChg chg="del">
          <ac:chgData name="Aurelien Domont" userId="6da7715ce44349b3" providerId="LiveId" clId="{D90A7DA1-CBD6-4900-9895-4316C2CB7C28}" dt="2023-06-14T02:48:01.132" v="94" actId="478"/>
          <ac:picMkLst>
            <pc:docMk/>
            <pc:sldMk cId="762251253" sldId="2250"/>
            <ac:picMk id="45" creationId="{5D118906-30E2-47A3-BDC3-A7C1C76A7FEF}"/>
          </ac:picMkLst>
        </pc:picChg>
        <pc:picChg chg="del">
          <ac:chgData name="Aurelien Domont" userId="6da7715ce44349b3" providerId="LiveId" clId="{D90A7DA1-CBD6-4900-9895-4316C2CB7C28}" dt="2023-06-14T02:48:01.132" v="94" actId="478"/>
          <ac:picMkLst>
            <pc:docMk/>
            <pc:sldMk cId="762251253" sldId="2250"/>
            <ac:picMk id="46" creationId="{966BCAF6-CFF0-4242-84EE-87067EE55D97}"/>
          </ac:picMkLst>
        </pc:picChg>
        <pc:picChg chg="del">
          <ac:chgData name="Aurelien Domont" userId="6da7715ce44349b3" providerId="LiveId" clId="{D90A7DA1-CBD6-4900-9895-4316C2CB7C28}" dt="2023-06-14T02:48:01.132" v="94" actId="478"/>
          <ac:picMkLst>
            <pc:docMk/>
            <pc:sldMk cId="762251253" sldId="2250"/>
            <ac:picMk id="57" creationId="{D80BD8CE-718F-4F36-83F5-DEADA6A5B40A}"/>
          </ac:picMkLst>
        </pc:picChg>
        <pc:cxnChg chg="add mod">
          <ac:chgData name="Aurelien Domont" userId="6da7715ce44349b3" providerId="LiveId" clId="{D90A7DA1-CBD6-4900-9895-4316C2CB7C28}" dt="2023-06-14T02:48:01.778" v="95"/>
          <ac:cxnSpMkLst>
            <pc:docMk/>
            <pc:sldMk cId="762251253" sldId="2250"/>
            <ac:cxnSpMk id="15" creationId="{BD60D347-99AE-F756-8D34-8A263B3F4C94}"/>
          </ac:cxnSpMkLst>
        </pc:cxnChg>
        <pc:cxnChg chg="add mod">
          <ac:chgData name="Aurelien Domont" userId="6da7715ce44349b3" providerId="LiveId" clId="{D90A7DA1-CBD6-4900-9895-4316C2CB7C28}" dt="2023-06-14T02:48:01.778" v="95"/>
          <ac:cxnSpMkLst>
            <pc:docMk/>
            <pc:sldMk cId="762251253" sldId="2250"/>
            <ac:cxnSpMk id="17" creationId="{D857F403-BA8B-5619-8B1E-6797017B7D70}"/>
          </ac:cxnSpMkLst>
        </pc:cxnChg>
        <pc:cxnChg chg="add mod">
          <ac:chgData name="Aurelien Domont" userId="6da7715ce44349b3" providerId="LiveId" clId="{D90A7DA1-CBD6-4900-9895-4316C2CB7C28}" dt="2023-06-14T02:48:01.778" v="95"/>
          <ac:cxnSpMkLst>
            <pc:docMk/>
            <pc:sldMk cId="762251253" sldId="2250"/>
            <ac:cxnSpMk id="18" creationId="{A8D9EE62-885D-2134-4421-C528EE663B4A}"/>
          </ac:cxnSpMkLst>
        </pc:cxnChg>
        <pc:cxnChg chg="add mod">
          <ac:chgData name="Aurelien Domont" userId="6da7715ce44349b3" providerId="LiveId" clId="{D90A7DA1-CBD6-4900-9895-4316C2CB7C28}" dt="2023-06-14T02:48:01.778" v="95"/>
          <ac:cxnSpMkLst>
            <pc:docMk/>
            <pc:sldMk cId="762251253" sldId="2250"/>
            <ac:cxnSpMk id="19" creationId="{6A88AFE8-4F76-8249-9A59-2E178F544A5F}"/>
          </ac:cxnSpMkLst>
        </pc:cxnChg>
        <pc:cxnChg chg="add mod">
          <ac:chgData name="Aurelien Domont" userId="6da7715ce44349b3" providerId="LiveId" clId="{D90A7DA1-CBD6-4900-9895-4316C2CB7C28}" dt="2023-06-14T02:48:01.778" v="95"/>
          <ac:cxnSpMkLst>
            <pc:docMk/>
            <pc:sldMk cId="762251253" sldId="2250"/>
            <ac:cxnSpMk id="20" creationId="{2561BA85-1AC6-5196-E879-4CA641B433AA}"/>
          </ac:cxnSpMkLst>
        </pc:cxnChg>
        <pc:cxnChg chg="del">
          <ac:chgData name="Aurelien Domont" userId="6da7715ce44349b3" providerId="LiveId" clId="{D90A7DA1-CBD6-4900-9895-4316C2CB7C28}" dt="2023-06-14T02:48:01.132" v="94" actId="478"/>
          <ac:cxnSpMkLst>
            <pc:docMk/>
            <pc:sldMk cId="762251253" sldId="2250"/>
            <ac:cxnSpMk id="47" creationId="{CB072D90-1EC6-4857-ACBA-CF8AB0CA6DC7}"/>
          </ac:cxnSpMkLst>
        </pc:cxnChg>
        <pc:cxnChg chg="del">
          <ac:chgData name="Aurelien Domont" userId="6da7715ce44349b3" providerId="LiveId" clId="{D90A7DA1-CBD6-4900-9895-4316C2CB7C28}" dt="2023-06-14T02:48:01.132" v="94" actId="478"/>
          <ac:cxnSpMkLst>
            <pc:docMk/>
            <pc:sldMk cId="762251253" sldId="2250"/>
            <ac:cxnSpMk id="48" creationId="{FFCF5572-65FA-4E1F-A4B7-4E77196CC2B3}"/>
          </ac:cxnSpMkLst>
        </pc:cxnChg>
        <pc:cxnChg chg="del">
          <ac:chgData name="Aurelien Domont" userId="6da7715ce44349b3" providerId="LiveId" clId="{D90A7DA1-CBD6-4900-9895-4316C2CB7C28}" dt="2023-06-14T02:48:01.132" v="94" actId="478"/>
          <ac:cxnSpMkLst>
            <pc:docMk/>
            <pc:sldMk cId="762251253" sldId="2250"/>
            <ac:cxnSpMk id="49" creationId="{499F5A82-A1EF-4DF9-9AB9-50FB5B1B58E8}"/>
          </ac:cxnSpMkLst>
        </pc:cxnChg>
        <pc:cxnChg chg="del">
          <ac:chgData name="Aurelien Domont" userId="6da7715ce44349b3" providerId="LiveId" clId="{D90A7DA1-CBD6-4900-9895-4316C2CB7C28}" dt="2023-06-14T02:48:01.132" v="94" actId="478"/>
          <ac:cxnSpMkLst>
            <pc:docMk/>
            <pc:sldMk cId="762251253" sldId="2250"/>
            <ac:cxnSpMk id="50" creationId="{F42BBC86-0BBA-4B77-92C9-8E20E98520AD}"/>
          </ac:cxnSpMkLst>
        </pc:cxnChg>
        <pc:cxnChg chg="del">
          <ac:chgData name="Aurelien Domont" userId="6da7715ce44349b3" providerId="LiveId" clId="{D90A7DA1-CBD6-4900-9895-4316C2CB7C28}" dt="2023-06-14T02:48:01.132" v="94" actId="478"/>
          <ac:cxnSpMkLst>
            <pc:docMk/>
            <pc:sldMk cId="762251253" sldId="2250"/>
            <ac:cxnSpMk id="51" creationId="{7A54F974-7F9F-4F6F-BADA-582C905FED2D}"/>
          </ac:cxnSpMkLst>
        </pc:cxnChg>
      </pc:sldChg>
      <pc:sldChg chg="del">
        <pc:chgData name="Aurelien Domont" userId="6da7715ce44349b3" providerId="LiveId" clId="{D90A7DA1-CBD6-4900-9895-4316C2CB7C28}" dt="2023-06-14T02:48:23.292" v="99" actId="47"/>
        <pc:sldMkLst>
          <pc:docMk/>
          <pc:sldMk cId="1061406231" sldId="2251"/>
        </pc:sldMkLst>
      </pc:sldChg>
      <pc:sldChg chg="del">
        <pc:chgData name="Aurelien Domont" userId="6da7715ce44349b3" providerId="LiveId" clId="{D90A7DA1-CBD6-4900-9895-4316C2CB7C28}" dt="2023-06-14T02:48:37.916" v="103" actId="47"/>
        <pc:sldMkLst>
          <pc:docMk/>
          <pc:sldMk cId="1752818099" sldId="2252"/>
        </pc:sldMkLst>
      </pc:sldChg>
      <pc:sldChg chg="delSp del mod">
        <pc:chgData name="Aurelien Domont" userId="6da7715ce44349b3" providerId="LiveId" clId="{D90A7DA1-CBD6-4900-9895-4316C2CB7C28}" dt="2023-06-14T02:49:03.343" v="109" actId="47"/>
        <pc:sldMkLst>
          <pc:docMk/>
          <pc:sldMk cId="1830053554" sldId="2253"/>
        </pc:sldMkLst>
        <pc:spChg chg="del">
          <ac:chgData name="Aurelien Domont" userId="6da7715ce44349b3" providerId="LiveId" clId="{D90A7DA1-CBD6-4900-9895-4316C2CB7C28}" dt="2023-06-14T02:48:56.722" v="106" actId="478"/>
          <ac:spMkLst>
            <pc:docMk/>
            <pc:sldMk cId="1830053554" sldId="2253"/>
            <ac:spMk id="23" creationId="{7406D1DE-5EE9-4F42-82EF-6DA26EBFD296}"/>
          </ac:spMkLst>
        </pc:spChg>
        <pc:spChg chg="del">
          <ac:chgData name="Aurelien Domont" userId="6da7715ce44349b3" providerId="LiveId" clId="{D90A7DA1-CBD6-4900-9895-4316C2CB7C28}" dt="2023-06-14T02:48:56.722" v="106" actId="478"/>
          <ac:spMkLst>
            <pc:docMk/>
            <pc:sldMk cId="1830053554" sldId="2253"/>
            <ac:spMk id="26" creationId="{106A6A86-2D47-43C4-AFD2-80C96C9FFA89}"/>
          </ac:spMkLst>
        </pc:spChg>
        <pc:spChg chg="del">
          <ac:chgData name="Aurelien Domont" userId="6da7715ce44349b3" providerId="LiveId" clId="{D90A7DA1-CBD6-4900-9895-4316C2CB7C28}" dt="2023-06-14T02:48:56.722" v="106" actId="478"/>
          <ac:spMkLst>
            <pc:docMk/>
            <pc:sldMk cId="1830053554" sldId="2253"/>
            <ac:spMk id="27" creationId="{6AD11DA4-7B04-4C1D-8F5D-1111A1DCC8F8}"/>
          </ac:spMkLst>
        </pc:spChg>
        <pc:spChg chg="del">
          <ac:chgData name="Aurelien Domont" userId="6da7715ce44349b3" providerId="LiveId" clId="{D90A7DA1-CBD6-4900-9895-4316C2CB7C28}" dt="2023-06-14T02:48:56.722" v="106" actId="478"/>
          <ac:spMkLst>
            <pc:docMk/>
            <pc:sldMk cId="1830053554" sldId="2253"/>
            <ac:spMk id="28" creationId="{F189DD75-313B-496B-BA7D-BB383993060B}"/>
          </ac:spMkLst>
        </pc:spChg>
        <pc:spChg chg="del">
          <ac:chgData name="Aurelien Domont" userId="6da7715ce44349b3" providerId="LiveId" clId="{D90A7DA1-CBD6-4900-9895-4316C2CB7C28}" dt="2023-06-14T02:48:56.722" v="106" actId="478"/>
          <ac:spMkLst>
            <pc:docMk/>
            <pc:sldMk cId="1830053554" sldId="2253"/>
            <ac:spMk id="29" creationId="{D6CA9855-D72B-4D11-80EC-F868C6554660}"/>
          </ac:spMkLst>
        </pc:spChg>
        <pc:spChg chg="del">
          <ac:chgData name="Aurelien Domont" userId="6da7715ce44349b3" providerId="LiveId" clId="{D90A7DA1-CBD6-4900-9895-4316C2CB7C28}" dt="2023-06-14T02:48:56.722" v="106" actId="478"/>
          <ac:spMkLst>
            <pc:docMk/>
            <pc:sldMk cId="1830053554" sldId="2253"/>
            <ac:spMk id="30" creationId="{6C27A78A-73CD-44C6-8CEF-A802B6CEFE07}"/>
          </ac:spMkLst>
        </pc:spChg>
        <pc:spChg chg="del">
          <ac:chgData name="Aurelien Domont" userId="6da7715ce44349b3" providerId="LiveId" clId="{D90A7DA1-CBD6-4900-9895-4316C2CB7C28}" dt="2023-06-14T02:48:56.722" v="106" actId="478"/>
          <ac:spMkLst>
            <pc:docMk/>
            <pc:sldMk cId="1830053554" sldId="2253"/>
            <ac:spMk id="41" creationId="{CE45E3D6-9041-45D6-91D8-4D4267DB2228}"/>
          </ac:spMkLst>
        </pc:spChg>
        <pc:spChg chg="del">
          <ac:chgData name="Aurelien Domont" userId="6da7715ce44349b3" providerId="LiveId" clId="{D90A7DA1-CBD6-4900-9895-4316C2CB7C28}" dt="2023-06-14T02:48:56.722" v="106" actId="478"/>
          <ac:spMkLst>
            <pc:docMk/>
            <pc:sldMk cId="1830053554" sldId="2253"/>
            <ac:spMk id="52" creationId="{56FE76F5-145A-49DB-AB26-48DFCAB68A11}"/>
          </ac:spMkLst>
        </pc:spChg>
        <pc:spChg chg="del">
          <ac:chgData name="Aurelien Domont" userId="6da7715ce44349b3" providerId="LiveId" clId="{D90A7DA1-CBD6-4900-9895-4316C2CB7C28}" dt="2023-06-14T02:48:56.722" v="106" actId="478"/>
          <ac:spMkLst>
            <pc:docMk/>
            <pc:sldMk cId="1830053554" sldId="2253"/>
            <ac:spMk id="53" creationId="{6A4D7ECE-D6AA-4217-8BC1-9363C24C3F2B}"/>
          </ac:spMkLst>
        </pc:spChg>
        <pc:spChg chg="del">
          <ac:chgData name="Aurelien Domont" userId="6da7715ce44349b3" providerId="LiveId" clId="{D90A7DA1-CBD6-4900-9895-4316C2CB7C28}" dt="2023-06-14T02:48:56.722" v="106" actId="478"/>
          <ac:spMkLst>
            <pc:docMk/>
            <pc:sldMk cId="1830053554" sldId="2253"/>
            <ac:spMk id="54" creationId="{7CA7C3E6-FEB2-419D-90E2-E189795D3871}"/>
          </ac:spMkLst>
        </pc:spChg>
        <pc:spChg chg="del">
          <ac:chgData name="Aurelien Domont" userId="6da7715ce44349b3" providerId="LiveId" clId="{D90A7DA1-CBD6-4900-9895-4316C2CB7C28}" dt="2023-06-14T02:48:56.722" v="106" actId="478"/>
          <ac:spMkLst>
            <pc:docMk/>
            <pc:sldMk cId="1830053554" sldId="2253"/>
            <ac:spMk id="55" creationId="{E2918A8C-DA5C-4EA6-BEA8-E2723D2ED25E}"/>
          </ac:spMkLst>
        </pc:spChg>
        <pc:spChg chg="del">
          <ac:chgData name="Aurelien Domont" userId="6da7715ce44349b3" providerId="LiveId" clId="{D90A7DA1-CBD6-4900-9895-4316C2CB7C28}" dt="2023-06-14T02:48:56.722" v="106" actId="478"/>
          <ac:spMkLst>
            <pc:docMk/>
            <pc:sldMk cId="1830053554" sldId="2253"/>
            <ac:spMk id="56" creationId="{0F5E9FAD-7CE5-478A-8508-63CB2E1F43C8}"/>
          </ac:spMkLst>
        </pc:spChg>
        <pc:spChg chg="del">
          <ac:chgData name="Aurelien Domont" userId="6da7715ce44349b3" providerId="LiveId" clId="{D90A7DA1-CBD6-4900-9895-4316C2CB7C28}" dt="2023-06-14T02:48:56.722" v="106" actId="478"/>
          <ac:spMkLst>
            <pc:docMk/>
            <pc:sldMk cId="1830053554" sldId="2253"/>
            <ac:spMk id="58" creationId="{C84BE2B9-6547-40A6-BB5B-8454CC14468F}"/>
          </ac:spMkLst>
        </pc:spChg>
        <pc:picChg chg="del">
          <ac:chgData name="Aurelien Domont" userId="6da7715ce44349b3" providerId="LiveId" clId="{D90A7DA1-CBD6-4900-9895-4316C2CB7C28}" dt="2023-06-14T02:48:56.722" v="106" actId="478"/>
          <ac:picMkLst>
            <pc:docMk/>
            <pc:sldMk cId="1830053554" sldId="2253"/>
            <ac:picMk id="42" creationId="{9044EE19-F699-4CFF-8E99-31257F0E56F5}"/>
          </ac:picMkLst>
        </pc:picChg>
        <pc:picChg chg="del">
          <ac:chgData name="Aurelien Domont" userId="6da7715ce44349b3" providerId="LiveId" clId="{D90A7DA1-CBD6-4900-9895-4316C2CB7C28}" dt="2023-06-14T02:48:59.194" v="107" actId="478"/>
          <ac:picMkLst>
            <pc:docMk/>
            <pc:sldMk cId="1830053554" sldId="2253"/>
            <ac:picMk id="43" creationId="{0ACC477C-4B51-4B08-A24D-8274469B320A}"/>
          </ac:picMkLst>
        </pc:picChg>
        <pc:picChg chg="del">
          <ac:chgData name="Aurelien Domont" userId="6da7715ce44349b3" providerId="LiveId" clId="{D90A7DA1-CBD6-4900-9895-4316C2CB7C28}" dt="2023-06-14T02:48:56.722" v="106" actId="478"/>
          <ac:picMkLst>
            <pc:docMk/>
            <pc:sldMk cId="1830053554" sldId="2253"/>
            <ac:picMk id="44" creationId="{D1C69E18-9095-40BB-82C4-84EE6FF6EEDC}"/>
          </ac:picMkLst>
        </pc:picChg>
        <pc:picChg chg="del">
          <ac:chgData name="Aurelien Domont" userId="6da7715ce44349b3" providerId="LiveId" clId="{D90A7DA1-CBD6-4900-9895-4316C2CB7C28}" dt="2023-06-14T02:48:56.722" v="106" actId="478"/>
          <ac:picMkLst>
            <pc:docMk/>
            <pc:sldMk cId="1830053554" sldId="2253"/>
            <ac:picMk id="45" creationId="{5D118906-30E2-47A3-BDC3-A7C1C76A7FEF}"/>
          </ac:picMkLst>
        </pc:picChg>
        <pc:picChg chg="del">
          <ac:chgData name="Aurelien Domont" userId="6da7715ce44349b3" providerId="LiveId" clId="{D90A7DA1-CBD6-4900-9895-4316C2CB7C28}" dt="2023-06-14T02:48:56.722" v="106" actId="478"/>
          <ac:picMkLst>
            <pc:docMk/>
            <pc:sldMk cId="1830053554" sldId="2253"/>
            <ac:picMk id="46" creationId="{966BCAF6-CFF0-4242-84EE-87067EE55D97}"/>
          </ac:picMkLst>
        </pc:picChg>
        <pc:picChg chg="del">
          <ac:chgData name="Aurelien Domont" userId="6da7715ce44349b3" providerId="LiveId" clId="{D90A7DA1-CBD6-4900-9895-4316C2CB7C28}" dt="2023-06-14T02:48:56.722" v="106" actId="478"/>
          <ac:picMkLst>
            <pc:docMk/>
            <pc:sldMk cId="1830053554" sldId="2253"/>
            <ac:picMk id="57" creationId="{D80BD8CE-718F-4F36-83F5-DEADA6A5B40A}"/>
          </ac:picMkLst>
        </pc:picChg>
        <pc:cxnChg chg="del">
          <ac:chgData name="Aurelien Domont" userId="6da7715ce44349b3" providerId="LiveId" clId="{D90A7DA1-CBD6-4900-9895-4316C2CB7C28}" dt="2023-06-14T02:48:56.722" v="106" actId="478"/>
          <ac:cxnSpMkLst>
            <pc:docMk/>
            <pc:sldMk cId="1830053554" sldId="2253"/>
            <ac:cxnSpMk id="47" creationId="{CB072D90-1EC6-4857-ACBA-CF8AB0CA6DC7}"/>
          </ac:cxnSpMkLst>
        </pc:cxnChg>
        <pc:cxnChg chg="del">
          <ac:chgData name="Aurelien Domont" userId="6da7715ce44349b3" providerId="LiveId" clId="{D90A7DA1-CBD6-4900-9895-4316C2CB7C28}" dt="2023-06-14T02:48:56.722" v="106" actId="478"/>
          <ac:cxnSpMkLst>
            <pc:docMk/>
            <pc:sldMk cId="1830053554" sldId="2253"/>
            <ac:cxnSpMk id="48" creationId="{FFCF5572-65FA-4E1F-A4B7-4E77196CC2B3}"/>
          </ac:cxnSpMkLst>
        </pc:cxnChg>
        <pc:cxnChg chg="del">
          <ac:chgData name="Aurelien Domont" userId="6da7715ce44349b3" providerId="LiveId" clId="{D90A7DA1-CBD6-4900-9895-4316C2CB7C28}" dt="2023-06-14T02:48:56.722" v="106" actId="478"/>
          <ac:cxnSpMkLst>
            <pc:docMk/>
            <pc:sldMk cId="1830053554" sldId="2253"/>
            <ac:cxnSpMk id="49" creationId="{499F5A82-A1EF-4DF9-9AB9-50FB5B1B58E8}"/>
          </ac:cxnSpMkLst>
        </pc:cxnChg>
        <pc:cxnChg chg="del">
          <ac:chgData name="Aurelien Domont" userId="6da7715ce44349b3" providerId="LiveId" clId="{D90A7DA1-CBD6-4900-9895-4316C2CB7C28}" dt="2023-06-14T02:48:56.722" v="106" actId="478"/>
          <ac:cxnSpMkLst>
            <pc:docMk/>
            <pc:sldMk cId="1830053554" sldId="2253"/>
            <ac:cxnSpMk id="50" creationId="{F42BBC86-0BBA-4B77-92C9-8E20E98520AD}"/>
          </ac:cxnSpMkLst>
        </pc:cxnChg>
        <pc:cxnChg chg="del">
          <ac:chgData name="Aurelien Domont" userId="6da7715ce44349b3" providerId="LiveId" clId="{D90A7DA1-CBD6-4900-9895-4316C2CB7C28}" dt="2023-06-14T02:48:56.722" v="106" actId="478"/>
          <ac:cxnSpMkLst>
            <pc:docMk/>
            <pc:sldMk cId="1830053554" sldId="2253"/>
            <ac:cxnSpMk id="51" creationId="{7A54F974-7F9F-4F6F-BADA-582C905FED2D}"/>
          </ac:cxnSpMkLst>
        </pc:cxnChg>
      </pc:sldChg>
      <pc:sldChg chg="del">
        <pc:chgData name="Aurelien Domont" userId="6da7715ce44349b3" providerId="LiveId" clId="{D90A7DA1-CBD6-4900-9895-4316C2CB7C28}" dt="2023-06-14T02:49:20.659" v="113" actId="47"/>
        <pc:sldMkLst>
          <pc:docMk/>
          <pc:sldMk cId="2606252549" sldId="2254"/>
        </pc:sldMkLst>
      </pc:sldChg>
      <pc:sldChg chg="add">
        <pc:chgData name="Aurelien Domont" userId="6da7715ce44349b3" providerId="LiveId" clId="{D90A7DA1-CBD6-4900-9895-4316C2CB7C28}" dt="2023-06-14T01:31:17.326" v="4"/>
        <pc:sldMkLst>
          <pc:docMk/>
          <pc:sldMk cId="654898064" sldId="2365"/>
        </pc:sldMkLst>
      </pc:sldChg>
      <pc:sldChg chg="addSp modSp add mod">
        <pc:chgData name="Aurelien Domont" userId="6da7715ce44349b3" providerId="LiveId" clId="{D90A7DA1-CBD6-4900-9895-4316C2CB7C28}" dt="2023-06-14T01:36:29.782" v="41" actId="20577"/>
        <pc:sldMkLst>
          <pc:docMk/>
          <pc:sldMk cId="678976635" sldId="2366"/>
        </pc:sldMkLst>
        <pc:spChg chg="add mod">
          <ac:chgData name="Aurelien Domont" userId="6da7715ce44349b3" providerId="LiveId" clId="{D90A7DA1-CBD6-4900-9895-4316C2CB7C28}" dt="2023-06-14T01:36:29.782" v="41" actId="20577"/>
          <ac:spMkLst>
            <pc:docMk/>
            <pc:sldMk cId="678976635" sldId="2366"/>
            <ac:spMk id="3" creationId="{931709FB-B326-2B6A-E0B4-E639EF3E240C}"/>
          </ac:spMkLst>
        </pc:spChg>
      </pc:sldChg>
      <pc:sldChg chg="addSp modSp add">
        <pc:chgData name="Aurelien Domont" userId="6da7715ce44349b3" providerId="LiveId" clId="{D90A7DA1-CBD6-4900-9895-4316C2CB7C28}" dt="2023-06-14T01:36:53.771" v="43"/>
        <pc:sldMkLst>
          <pc:docMk/>
          <pc:sldMk cId="1418888990" sldId="2367"/>
        </pc:sldMkLst>
        <pc:spChg chg="add mod">
          <ac:chgData name="Aurelien Domont" userId="6da7715ce44349b3" providerId="LiveId" clId="{D90A7DA1-CBD6-4900-9895-4316C2CB7C28}" dt="2023-06-14T01:36:53.771" v="43"/>
          <ac:spMkLst>
            <pc:docMk/>
            <pc:sldMk cId="1418888990" sldId="2367"/>
            <ac:spMk id="3" creationId="{D4243EE0-4163-0769-AFCC-241397EF1DA6}"/>
          </ac:spMkLst>
        </pc:spChg>
      </pc:sldChg>
      <pc:sldChg chg="addSp modSp add mod">
        <pc:chgData name="Aurelien Domont" userId="6da7715ce44349b3" providerId="LiveId" clId="{D90A7DA1-CBD6-4900-9895-4316C2CB7C28}" dt="2023-06-14T01:37:09.967" v="53" actId="20577"/>
        <pc:sldMkLst>
          <pc:docMk/>
          <pc:sldMk cId="3382197153" sldId="2368"/>
        </pc:sldMkLst>
        <pc:spChg chg="add mod">
          <ac:chgData name="Aurelien Domont" userId="6da7715ce44349b3" providerId="LiveId" clId="{D90A7DA1-CBD6-4900-9895-4316C2CB7C28}" dt="2023-06-14T01:37:09.967" v="53" actId="20577"/>
          <ac:spMkLst>
            <pc:docMk/>
            <pc:sldMk cId="3382197153" sldId="2368"/>
            <ac:spMk id="3" creationId="{472A5BA1-6C22-6415-C7B5-3C4979F9BC56}"/>
          </ac:spMkLst>
        </pc:spChg>
      </pc:sldChg>
      <pc:sldChg chg="addSp modSp add mod">
        <pc:chgData name="Aurelien Domont" userId="6da7715ce44349b3" providerId="LiveId" clId="{D90A7DA1-CBD6-4900-9895-4316C2CB7C28}" dt="2023-06-14T01:37:36.819" v="56"/>
        <pc:sldMkLst>
          <pc:docMk/>
          <pc:sldMk cId="1623709026" sldId="2369"/>
        </pc:sldMkLst>
        <pc:spChg chg="add mod">
          <ac:chgData name="Aurelien Domont" userId="6da7715ce44349b3" providerId="LiveId" clId="{D90A7DA1-CBD6-4900-9895-4316C2CB7C28}" dt="2023-06-14T01:37:36.819" v="56"/>
          <ac:spMkLst>
            <pc:docMk/>
            <pc:sldMk cId="1623709026" sldId="2369"/>
            <ac:spMk id="2" creationId="{57B4F201-4CDB-C6ED-65E3-E8E94E15CC0E}"/>
          </ac:spMkLst>
        </pc:spChg>
        <pc:spChg chg="mod">
          <ac:chgData name="Aurelien Domont" userId="6da7715ce44349b3" providerId="LiveId" clId="{D90A7DA1-CBD6-4900-9895-4316C2CB7C28}" dt="2023-06-14T01:37:30.524" v="55" actId="14100"/>
          <ac:spMkLst>
            <pc:docMk/>
            <pc:sldMk cId="1623709026" sldId="2369"/>
            <ac:spMk id="24" creationId="{119FDC65-DF02-4B4A-BFBC-55D5406450C6}"/>
          </ac:spMkLst>
        </pc:spChg>
      </pc:sldChg>
      <pc:sldChg chg="addSp modSp add">
        <pc:chgData name="Aurelien Domont" userId="6da7715ce44349b3" providerId="LiveId" clId="{D90A7DA1-CBD6-4900-9895-4316C2CB7C28}" dt="2023-06-14T01:39:20.944" v="84"/>
        <pc:sldMkLst>
          <pc:docMk/>
          <pc:sldMk cId="2991235747" sldId="2370"/>
        </pc:sldMkLst>
        <pc:spChg chg="add mod">
          <ac:chgData name="Aurelien Domont" userId="6da7715ce44349b3" providerId="LiveId" clId="{D90A7DA1-CBD6-4900-9895-4316C2CB7C28}" dt="2023-06-14T01:39:20.944" v="84"/>
          <ac:spMkLst>
            <pc:docMk/>
            <pc:sldMk cId="2991235747" sldId="2370"/>
            <ac:spMk id="2" creationId="{AD68ABD4-D2C6-6DFC-6BE7-4BC3095AF42F}"/>
          </ac:spMkLst>
        </pc:spChg>
      </pc:sldChg>
      <pc:sldChg chg="modSp add mod">
        <pc:chgData name="Aurelien Domont" userId="6da7715ce44349b3" providerId="LiveId" clId="{D90A7DA1-CBD6-4900-9895-4316C2CB7C28}" dt="2023-06-14T02:48:29.980" v="101" actId="207"/>
        <pc:sldMkLst>
          <pc:docMk/>
          <pc:sldMk cId="2097163257" sldId="2371"/>
        </pc:sldMkLst>
        <pc:spChg chg="mod">
          <ac:chgData name="Aurelien Domont" userId="6da7715ce44349b3" providerId="LiveId" clId="{D90A7DA1-CBD6-4900-9895-4316C2CB7C28}" dt="2023-06-14T02:48:29.980" v="101" actId="207"/>
          <ac:spMkLst>
            <pc:docMk/>
            <pc:sldMk cId="2097163257" sldId="2371"/>
            <ac:spMk id="21" creationId="{9759BC80-A51A-629C-D18B-EB55E14F4028}"/>
          </ac:spMkLst>
        </pc:spChg>
      </pc:sldChg>
      <pc:sldChg chg="modSp add mod">
        <pc:chgData name="Aurelien Domont" userId="6da7715ce44349b3" providerId="LiveId" clId="{D90A7DA1-CBD6-4900-9895-4316C2CB7C28}" dt="2023-06-14T02:48:47.842" v="105" actId="207"/>
        <pc:sldMkLst>
          <pc:docMk/>
          <pc:sldMk cId="2880496572" sldId="2372"/>
        </pc:sldMkLst>
        <pc:spChg chg="mod">
          <ac:chgData name="Aurelien Domont" userId="6da7715ce44349b3" providerId="LiveId" clId="{D90A7DA1-CBD6-4900-9895-4316C2CB7C28}" dt="2023-06-14T02:48:47.842" v="105" actId="207"/>
          <ac:spMkLst>
            <pc:docMk/>
            <pc:sldMk cId="2880496572" sldId="2372"/>
            <ac:spMk id="21" creationId="{9759BC80-A51A-629C-D18B-EB55E14F4028}"/>
          </ac:spMkLst>
        </pc:spChg>
      </pc:sldChg>
      <pc:sldChg chg="modSp add mod">
        <pc:chgData name="Aurelien Domont" userId="6da7715ce44349b3" providerId="LiveId" clId="{D90A7DA1-CBD6-4900-9895-4316C2CB7C28}" dt="2023-06-14T02:49:14.449" v="111" actId="207"/>
        <pc:sldMkLst>
          <pc:docMk/>
          <pc:sldMk cId="2610070951" sldId="2373"/>
        </pc:sldMkLst>
        <pc:spChg chg="mod">
          <ac:chgData name="Aurelien Domont" userId="6da7715ce44349b3" providerId="LiveId" clId="{D90A7DA1-CBD6-4900-9895-4316C2CB7C28}" dt="2023-06-14T02:49:14.449" v="111" actId="207"/>
          <ac:spMkLst>
            <pc:docMk/>
            <pc:sldMk cId="2610070951" sldId="2373"/>
            <ac:spMk id="21" creationId="{9759BC80-A51A-629C-D18B-EB55E14F4028}"/>
          </ac:spMkLst>
        </pc:spChg>
      </pc:sldChg>
      <pc:sldChg chg="modSp add mod">
        <pc:chgData name="Aurelien Domont" userId="6da7715ce44349b3" providerId="LiveId" clId="{D90A7DA1-CBD6-4900-9895-4316C2CB7C28}" dt="2023-06-14T02:49:30.975" v="115" actId="207"/>
        <pc:sldMkLst>
          <pc:docMk/>
          <pc:sldMk cId="3639263358" sldId="2374"/>
        </pc:sldMkLst>
        <pc:spChg chg="mod">
          <ac:chgData name="Aurelien Domont" userId="6da7715ce44349b3" providerId="LiveId" clId="{D90A7DA1-CBD6-4900-9895-4316C2CB7C28}" dt="2023-06-14T02:49:30.975" v="115" actId="207"/>
          <ac:spMkLst>
            <pc:docMk/>
            <pc:sldMk cId="3639263358" sldId="2374"/>
            <ac:spMk id="21" creationId="{9759BC80-A51A-629C-D18B-EB55E14F402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6/14/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6/1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1905657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33319298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8</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067297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13282443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1452174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2625233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37433070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3433538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13207115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domontconsulting.com/" TargetMode="Externa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13.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1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15.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6.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20.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121.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2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126.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3.xml"/><Relationship Id="rId1" Type="http://schemas.openxmlformats.org/officeDocument/2006/relationships/tags" Target="../tags/tag127.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10.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28.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129.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11.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30.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13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3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2.emf"/><Relationship Id="rId5" Type="http://schemas.openxmlformats.org/officeDocument/2006/relationships/oleObject" Target="../embeddings/oleObject73.bin"/><Relationship Id="rId4" Type="http://schemas.openxmlformats.org/officeDocument/2006/relationships/notesSlide" Target="../notesSlides/notesSlide12.xml"/><Relationship Id="rId9" Type="http://schemas.openxmlformats.org/officeDocument/2006/relationships/hyperlink" Target="https://www.domontconsulting.com/pages/full-access"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notesSlide" Target="../notesSlides/notesSlide13.xml"/><Relationship Id="rId9" Type="http://schemas.openxmlformats.org/officeDocument/2006/relationships/hyperlink" Target="http://www.domontconsulting.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3.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06.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4.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07.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0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09.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10.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5.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11.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1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GB" sz="4800" dirty="0"/>
              <a:t>Mergers and Acquisitions Strategy</a:t>
            </a:r>
            <a:endParaRPr lang="en-US" sz="4800" b="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168492" y="266480"/>
              <a:ext cx="406254"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Guide</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6" name="Text Placeholder 2">
            <a:extLst>
              <a:ext uri="{FF2B5EF4-FFF2-40B4-BE49-F238E27FC236}">
                <a16:creationId xmlns:a16="http://schemas.microsoft.com/office/drawing/2014/main" id="{352AA2C5-ED37-41BC-87C5-9CE052D30874}"/>
              </a:ext>
            </a:extLst>
          </p:cNvPr>
          <p:cNvSpPr>
            <a:spLocks noGrp="1"/>
          </p:cNvSpPr>
          <p:nvPr>
            <p:ph type="body" sz="quarter" idx="11"/>
          </p:nvPr>
        </p:nvSpPr>
        <p:spPr>
          <a:xfrm>
            <a:off x="503240" y="3280961"/>
            <a:ext cx="10313987" cy="1620957"/>
          </a:xfrm>
        </p:spPr>
        <p:txBody>
          <a:bodyPr lIns="0" tIns="0" rIns="0" bIns="0">
            <a:spAutoFit/>
          </a:bodyPr>
          <a:lstStyle/>
          <a:p>
            <a:r>
              <a:rPr lang="en-US" sz="1600" b="1" dirty="0"/>
              <a:t>CEO: </a:t>
            </a:r>
            <a:r>
              <a:rPr lang="en-US" sz="1600" dirty="0"/>
              <a:t>insert your own text</a:t>
            </a:r>
          </a:p>
          <a:p>
            <a:r>
              <a:rPr lang="en-US" sz="1600" b="1" dirty="0"/>
              <a:t>Chief Strategy Officer: </a:t>
            </a:r>
            <a:r>
              <a:rPr lang="en-US" sz="1600" dirty="0"/>
              <a:t>insert your own text</a:t>
            </a:r>
          </a:p>
          <a:p>
            <a:r>
              <a:rPr lang="en-US" sz="1600" b="1" dirty="0"/>
              <a:t>Date: </a:t>
            </a:r>
            <a:r>
              <a:rPr lang="en-US" sz="1600" dirty="0"/>
              <a:t>insert your own text</a:t>
            </a:r>
          </a:p>
          <a:p>
            <a:r>
              <a:rPr lang="en-US" sz="1600" b="1" dirty="0"/>
              <a:t>Version: </a:t>
            </a:r>
            <a:r>
              <a:rPr lang="en-US" sz="1600" dirty="0"/>
              <a:t>insert your own text</a:t>
            </a:r>
          </a:p>
          <a:p>
            <a:r>
              <a:rPr lang="en-US" sz="1600" b="1" dirty="0"/>
              <a:t>Contact Email: </a:t>
            </a:r>
            <a:r>
              <a:rPr lang="en-US" sz="1600" dirty="0"/>
              <a:t>insert your own text</a:t>
            </a:r>
          </a:p>
        </p:txBody>
      </p:sp>
      <p:pic>
        <p:nvPicPr>
          <p:cNvPr id="3" name="Picture 2">
            <a:hlinkClick r:id="rId7"/>
            <a:extLst>
              <a:ext uri="{FF2B5EF4-FFF2-40B4-BE49-F238E27FC236}">
                <a16:creationId xmlns:a16="http://schemas.microsoft.com/office/drawing/2014/main" id="{8FD7F281-04F5-748A-F533-3D98691FBF2B}"/>
              </a:ext>
            </a:extLst>
          </p:cNvPr>
          <p:cNvPicPr>
            <a:picLocks noChangeAspect="1"/>
          </p:cNvPicPr>
          <p:nvPr/>
        </p:nvPicPr>
        <p:blipFill>
          <a:blip r:embed="rId8"/>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many potential M&amp;A strategic objectives</a:t>
            </a:r>
            <a:endParaRPr lang="en-US" sz="2400"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0</a:t>
            </a:fld>
            <a:endParaRPr lang="en-US" dirty="0">
              <a:solidFill>
                <a:srgbClr val="ADAFBB"/>
              </a:solidFill>
            </a:endParaRPr>
          </a:p>
        </p:txBody>
      </p:sp>
      <p:sp>
        <p:nvSpPr>
          <p:cNvPr id="12" name="Oval 11">
            <a:extLst>
              <a:ext uri="{FF2B5EF4-FFF2-40B4-BE49-F238E27FC236}">
                <a16:creationId xmlns:a16="http://schemas.microsoft.com/office/drawing/2014/main" id="{8306F265-EA78-49C1-8405-1B65E1DBD4FA}"/>
              </a:ext>
            </a:extLst>
          </p:cNvPr>
          <p:cNvSpPr/>
          <p:nvPr/>
        </p:nvSpPr>
        <p:spPr>
          <a:xfrm>
            <a:off x="3719174"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offer new products and services</a:t>
            </a:r>
          </a:p>
        </p:txBody>
      </p:sp>
      <p:sp>
        <p:nvSpPr>
          <p:cNvPr id="19" name="Oval 18">
            <a:extLst>
              <a:ext uri="{FF2B5EF4-FFF2-40B4-BE49-F238E27FC236}">
                <a16:creationId xmlns:a16="http://schemas.microsoft.com/office/drawing/2014/main" id="{9D1DA41A-AAE2-4331-879A-5929CB091B0C}"/>
              </a:ext>
            </a:extLst>
          </p:cNvPr>
          <p:cNvSpPr/>
          <p:nvPr/>
        </p:nvSpPr>
        <p:spPr>
          <a:xfrm>
            <a:off x="8977740"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increase market share by acquiring new customers</a:t>
            </a:r>
          </a:p>
        </p:txBody>
      </p:sp>
      <p:sp>
        <p:nvSpPr>
          <p:cNvPr id="20" name="Oval 19">
            <a:extLst>
              <a:ext uri="{FF2B5EF4-FFF2-40B4-BE49-F238E27FC236}">
                <a16:creationId xmlns:a16="http://schemas.microsoft.com/office/drawing/2014/main" id="{A3155065-9875-470B-90E1-D4791446E781}"/>
              </a:ext>
            </a:extLst>
          </p:cNvPr>
          <p:cNvSpPr/>
          <p:nvPr/>
        </p:nvSpPr>
        <p:spPr>
          <a:xfrm>
            <a:off x="1089891"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dd a distribution channel</a:t>
            </a:r>
          </a:p>
        </p:txBody>
      </p:sp>
      <p:sp>
        <p:nvSpPr>
          <p:cNvPr id="23" name="Oval 22">
            <a:extLst>
              <a:ext uri="{FF2B5EF4-FFF2-40B4-BE49-F238E27FC236}">
                <a16:creationId xmlns:a16="http://schemas.microsoft.com/office/drawing/2014/main" id="{5DA409EE-3999-44D8-9E67-55D3BEDAF7CC}"/>
              </a:ext>
            </a:extLst>
          </p:cNvPr>
          <p:cNvSpPr/>
          <p:nvPr/>
        </p:nvSpPr>
        <p:spPr>
          <a:xfrm>
            <a:off x="1089891"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enter a new domestic or international market</a:t>
            </a:r>
          </a:p>
        </p:txBody>
      </p:sp>
      <p:sp>
        <p:nvSpPr>
          <p:cNvPr id="24" name="Oval 23">
            <a:extLst>
              <a:ext uri="{FF2B5EF4-FFF2-40B4-BE49-F238E27FC236}">
                <a16:creationId xmlns:a16="http://schemas.microsoft.com/office/drawing/2014/main" id="{3FDE4D88-5A8E-4D70-9AC2-1A3E89904A39}"/>
              </a:ext>
            </a:extLst>
          </p:cNvPr>
          <p:cNvSpPr/>
          <p:nvPr/>
        </p:nvSpPr>
        <p:spPr>
          <a:xfrm>
            <a:off x="8977740"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hieve operating synergies and economies of scale</a:t>
            </a:r>
          </a:p>
        </p:txBody>
      </p:sp>
      <p:sp>
        <p:nvSpPr>
          <p:cNvPr id="25" name="Oval 24">
            <a:extLst>
              <a:ext uri="{FF2B5EF4-FFF2-40B4-BE49-F238E27FC236}">
                <a16:creationId xmlns:a16="http://schemas.microsoft.com/office/drawing/2014/main" id="{7810C931-4159-45C4-A3E2-704C14939ABF}"/>
              </a:ext>
            </a:extLst>
          </p:cNvPr>
          <p:cNvSpPr/>
          <p:nvPr/>
        </p:nvSpPr>
        <p:spPr>
          <a:xfrm>
            <a:off x="3719174"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strengthen key business areas such as research &amp; development, sales or marketing</a:t>
            </a:r>
          </a:p>
        </p:txBody>
      </p:sp>
      <p:sp>
        <p:nvSpPr>
          <p:cNvPr id="26" name="Oval 25">
            <a:extLst>
              <a:ext uri="{FF2B5EF4-FFF2-40B4-BE49-F238E27FC236}">
                <a16:creationId xmlns:a16="http://schemas.microsoft.com/office/drawing/2014/main" id="{7C973433-79AC-420E-B105-53A20575C1AE}"/>
              </a:ext>
            </a:extLst>
          </p:cNvPr>
          <p:cNvSpPr/>
          <p:nvPr/>
        </p:nvSpPr>
        <p:spPr>
          <a:xfrm>
            <a:off x="8977740"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cess a new technology</a:t>
            </a:r>
          </a:p>
        </p:txBody>
      </p:sp>
      <p:sp>
        <p:nvSpPr>
          <p:cNvPr id="27" name="Oval 26">
            <a:extLst>
              <a:ext uri="{FF2B5EF4-FFF2-40B4-BE49-F238E27FC236}">
                <a16:creationId xmlns:a16="http://schemas.microsoft.com/office/drawing/2014/main" id="{538B4C19-4199-4EC4-9055-FBAFAF368D6C}"/>
              </a:ext>
            </a:extLst>
          </p:cNvPr>
          <p:cNvSpPr/>
          <p:nvPr/>
        </p:nvSpPr>
        <p:spPr>
          <a:xfrm>
            <a:off x="1089891"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quire trained human resources</a:t>
            </a:r>
          </a:p>
        </p:txBody>
      </p:sp>
      <p:sp>
        <p:nvSpPr>
          <p:cNvPr id="28" name="Oval 27">
            <a:extLst>
              <a:ext uri="{FF2B5EF4-FFF2-40B4-BE49-F238E27FC236}">
                <a16:creationId xmlns:a16="http://schemas.microsoft.com/office/drawing/2014/main" id="{1B373EA7-CBDC-463F-89E7-9F6240D1B42D}"/>
              </a:ext>
            </a:extLst>
          </p:cNvPr>
          <p:cNvSpPr/>
          <p:nvPr/>
        </p:nvSpPr>
        <p:spPr>
          <a:xfrm>
            <a:off x="6348457"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enhance reputation</a:t>
            </a:r>
          </a:p>
        </p:txBody>
      </p:sp>
      <p:sp>
        <p:nvSpPr>
          <p:cNvPr id="29" name="Oval 28">
            <a:extLst>
              <a:ext uri="{FF2B5EF4-FFF2-40B4-BE49-F238E27FC236}">
                <a16:creationId xmlns:a16="http://schemas.microsoft.com/office/drawing/2014/main" id="{64C31903-87EE-4E43-A377-FD7EA4AEAD0D}"/>
              </a:ext>
            </a:extLst>
          </p:cNvPr>
          <p:cNvSpPr/>
          <p:nvPr/>
        </p:nvSpPr>
        <p:spPr>
          <a:xfrm>
            <a:off x="6348457"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reduce the number of competitors</a:t>
            </a:r>
          </a:p>
        </p:txBody>
      </p:sp>
      <p:sp>
        <p:nvSpPr>
          <p:cNvPr id="37" name="Oval 36">
            <a:extLst>
              <a:ext uri="{FF2B5EF4-FFF2-40B4-BE49-F238E27FC236}">
                <a16:creationId xmlns:a16="http://schemas.microsoft.com/office/drawing/2014/main" id="{BBCA321F-3F34-4EFD-8EEC-A81B7F0B962B}"/>
              </a:ext>
            </a:extLst>
          </p:cNvPr>
          <p:cNvSpPr/>
          <p:nvPr/>
        </p:nvSpPr>
        <p:spPr>
          <a:xfrm>
            <a:off x="3719174"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take advantage of a bargain</a:t>
            </a:r>
          </a:p>
        </p:txBody>
      </p:sp>
      <p:sp>
        <p:nvSpPr>
          <p:cNvPr id="38" name="Oval 37">
            <a:extLst>
              <a:ext uri="{FF2B5EF4-FFF2-40B4-BE49-F238E27FC236}">
                <a16:creationId xmlns:a16="http://schemas.microsoft.com/office/drawing/2014/main" id="{AB36AA84-CB9C-45D1-8377-C9C59F0AB8D3}"/>
              </a:ext>
            </a:extLst>
          </p:cNvPr>
          <p:cNvSpPr/>
          <p:nvPr/>
        </p:nvSpPr>
        <p:spPr>
          <a:xfrm>
            <a:off x="6348457"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quire certain patents, copyrights, trade secrets, or other intangible assets</a:t>
            </a:r>
          </a:p>
        </p:txBody>
      </p:sp>
      <p:sp>
        <p:nvSpPr>
          <p:cNvPr id="17" name="Rounded Rectangular Callout 19">
            <a:extLst>
              <a:ext uri="{FF2B5EF4-FFF2-40B4-BE49-F238E27FC236}">
                <a16:creationId xmlns:a16="http://schemas.microsoft.com/office/drawing/2014/main" id="{AB4CF357-D8DC-478E-8733-DFA37DFAC2B3}"/>
              </a:ext>
            </a:extLst>
          </p:cNvPr>
          <p:cNvSpPr/>
          <p:nvPr/>
        </p:nvSpPr>
        <p:spPr bwMode="auto">
          <a:xfrm>
            <a:off x="3879273" y="1071417"/>
            <a:ext cx="7703127" cy="572655"/>
          </a:xfrm>
          <a:prstGeom prst="wedgeRoundRectCallout">
            <a:avLst>
              <a:gd name="adj1" fmla="val -23495"/>
              <a:gd name="adj2" fmla="val 8890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Please note that this list reflects the M&amp;A strategic objectives most used by Global Fortune 1000 companies. However, </a:t>
            </a:r>
            <a:r>
              <a:rPr lang="en-GB" sz="1050" b="1" dirty="0">
                <a:solidFill>
                  <a:srgbClr val="0C2870"/>
                </a:solidFill>
                <a:latin typeface="Arial" charset="0"/>
                <a:cs typeface="Times New Roman" pitchFamily="18" charset="0"/>
              </a:rPr>
              <a:t>is not totally comprehensive.</a:t>
            </a:r>
            <a:endParaRPr lang="en-US" sz="1050" b="1" dirty="0">
              <a:solidFill>
                <a:srgbClr val="0C2870"/>
              </a:solidFill>
              <a:latin typeface="Arial" charset="0"/>
              <a:cs typeface="Times New Roman" pitchFamily="18" charset="0"/>
            </a:endParaRPr>
          </a:p>
        </p:txBody>
      </p:sp>
      <p:sp>
        <p:nvSpPr>
          <p:cNvPr id="3" name="Rectangle: Rounded Corners 2">
            <a:extLst>
              <a:ext uri="{FF2B5EF4-FFF2-40B4-BE49-F238E27FC236}">
                <a16:creationId xmlns:a16="http://schemas.microsoft.com/office/drawing/2014/main" id="{D4243EE0-4163-0769-AFCC-241397EF1DA6}"/>
              </a:ext>
            </a:extLst>
          </p:cNvPr>
          <p:cNvSpPr/>
          <p:nvPr/>
        </p:nvSpPr>
        <p:spPr>
          <a:xfrm>
            <a:off x="10191867" y="237531"/>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Best Practices</a:t>
            </a:r>
          </a:p>
        </p:txBody>
      </p:sp>
    </p:spTree>
    <p:extLst>
      <p:ext uri="{BB962C8B-B14F-4D97-AF65-F5344CB8AC3E}">
        <p14:creationId xmlns:p14="http://schemas.microsoft.com/office/powerpoint/2010/main" val="14188889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nsert company name] decided to focus on the following [insert number] M&amp;A strategic objectives</a:t>
            </a:r>
            <a:endParaRPr lang="en-US" sz="2400"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1</a:t>
            </a:fld>
            <a:endParaRPr lang="en-US" dirty="0">
              <a:solidFill>
                <a:srgbClr val="ADAFBB"/>
              </a:solidFill>
            </a:endParaRPr>
          </a:p>
        </p:txBody>
      </p:sp>
      <p:sp>
        <p:nvSpPr>
          <p:cNvPr id="6" name="Oval 5">
            <a:extLst>
              <a:ext uri="{FF2B5EF4-FFF2-40B4-BE49-F238E27FC236}">
                <a16:creationId xmlns:a16="http://schemas.microsoft.com/office/drawing/2014/main" id="{B920DB00-1732-43D5-AE64-40069E5E220A}"/>
              </a:ext>
            </a:extLst>
          </p:cNvPr>
          <p:cNvSpPr/>
          <p:nvPr/>
        </p:nvSpPr>
        <p:spPr>
          <a:xfrm>
            <a:off x="3719174"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offer new products and services</a:t>
            </a:r>
          </a:p>
        </p:txBody>
      </p:sp>
      <p:sp>
        <p:nvSpPr>
          <p:cNvPr id="7" name="Oval 6">
            <a:extLst>
              <a:ext uri="{FF2B5EF4-FFF2-40B4-BE49-F238E27FC236}">
                <a16:creationId xmlns:a16="http://schemas.microsoft.com/office/drawing/2014/main" id="{0118B5E1-B7D5-4D7A-AF40-FAB6F3A716FE}"/>
              </a:ext>
            </a:extLst>
          </p:cNvPr>
          <p:cNvSpPr/>
          <p:nvPr/>
        </p:nvSpPr>
        <p:spPr>
          <a:xfrm>
            <a:off x="8977740" y="1747423"/>
            <a:ext cx="2018698" cy="113890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To increase market share by acquiring new customers</a:t>
            </a:r>
          </a:p>
        </p:txBody>
      </p:sp>
      <p:sp>
        <p:nvSpPr>
          <p:cNvPr id="8" name="Oval 7">
            <a:extLst>
              <a:ext uri="{FF2B5EF4-FFF2-40B4-BE49-F238E27FC236}">
                <a16:creationId xmlns:a16="http://schemas.microsoft.com/office/drawing/2014/main" id="{C104F7B4-DF7D-4E85-AC9F-9C6FF5FDF914}"/>
              </a:ext>
            </a:extLst>
          </p:cNvPr>
          <p:cNvSpPr/>
          <p:nvPr/>
        </p:nvSpPr>
        <p:spPr>
          <a:xfrm>
            <a:off x="1089891" y="1747423"/>
            <a:ext cx="2018698" cy="113890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To add a distribution channel</a:t>
            </a:r>
          </a:p>
        </p:txBody>
      </p:sp>
      <p:sp>
        <p:nvSpPr>
          <p:cNvPr id="9" name="Oval 8">
            <a:extLst>
              <a:ext uri="{FF2B5EF4-FFF2-40B4-BE49-F238E27FC236}">
                <a16:creationId xmlns:a16="http://schemas.microsoft.com/office/drawing/2014/main" id="{99C4A072-1BF4-4128-9D99-7D2A5529EE1E}"/>
              </a:ext>
            </a:extLst>
          </p:cNvPr>
          <p:cNvSpPr/>
          <p:nvPr/>
        </p:nvSpPr>
        <p:spPr>
          <a:xfrm>
            <a:off x="1089891"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enter a new domestic or international market</a:t>
            </a:r>
          </a:p>
        </p:txBody>
      </p:sp>
      <p:sp>
        <p:nvSpPr>
          <p:cNvPr id="10" name="Oval 9">
            <a:extLst>
              <a:ext uri="{FF2B5EF4-FFF2-40B4-BE49-F238E27FC236}">
                <a16:creationId xmlns:a16="http://schemas.microsoft.com/office/drawing/2014/main" id="{A3F876CD-326B-4FA5-B13A-A902D9C7332D}"/>
              </a:ext>
            </a:extLst>
          </p:cNvPr>
          <p:cNvSpPr/>
          <p:nvPr/>
        </p:nvSpPr>
        <p:spPr>
          <a:xfrm>
            <a:off x="8977740"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hieve operating synergies and economies of scale</a:t>
            </a:r>
          </a:p>
        </p:txBody>
      </p:sp>
      <p:sp>
        <p:nvSpPr>
          <p:cNvPr id="11" name="Oval 10">
            <a:extLst>
              <a:ext uri="{FF2B5EF4-FFF2-40B4-BE49-F238E27FC236}">
                <a16:creationId xmlns:a16="http://schemas.microsoft.com/office/drawing/2014/main" id="{899E6F83-7BB0-4E20-8A52-FF081BD71F4E}"/>
              </a:ext>
            </a:extLst>
          </p:cNvPr>
          <p:cNvSpPr/>
          <p:nvPr/>
        </p:nvSpPr>
        <p:spPr>
          <a:xfrm>
            <a:off x="3719174"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strengthen key business areas such as research &amp; development, sales or marketing</a:t>
            </a:r>
          </a:p>
        </p:txBody>
      </p:sp>
      <p:sp>
        <p:nvSpPr>
          <p:cNvPr id="12" name="Oval 11">
            <a:extLst>
              <a:ext uri="{FF2B5EF4-FFF2-40B4-BE49-F238E27FC236}">
                <a16:creationId xmlns:a16="http://schemas.microsoft.com/office/drawing/2014/main" id="{C457F947-2BD3-4D47-9DFC-30CD26DC9FDB}"/>
              </a:ext>
            </a:extLst>
          </p:cNvPr>
          <p:cNvSpPr/>
          <p:nvPr/>
        </p:nvSpPr>
        <p:spPr>
          <a:xfrm>
            <a:off x="8977740"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cess a new technology</a:t>
            </a:r>
          </a:p>
        </p:txBody>
      </p:sp>
      <p:sp>
        <p:nvSpPr>
          <p:cNvPr id="14" name="Oval 13">
            <a:extLst>
              <a:ext uri="{FF2B5EF4-FFF2-40B4-BE49-F238E27FC236}">
                <a16:creationId xmlns:a16="http://schemas.microsoft.com/office/drawing/2014/main" id="{B908BDAD-49ED-4DE8-989B-12D2029B8391}"/>
              </a:ext>
            </a:extLst>
          </p:cNvPr>
          <p:cNvSpPr/>
          <p:nvPr/>
        </p:nvSpPr>
        <p:spPr>
          <a:xfrm>
            <a:off x="1089891"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quire trained human resources</a:t>
            </a:r>
          </a:p>
        </p:txBody>
      </p:sp>
      <p:sp>
        <p:nvSpPr>
          <p:cNvPr id="15" name="Oval 14">
            <a:extLst>
              <a:ext uri="{FF2B5EF4-FFF2-40B4-BE49-F238E27FC236}">
                <a16:creationId xmlns:a16="http://schemas.microsoft.com/office/drawing/2014/main" id="{882F2B8A-B8CC-4578-A802-7C982F3E8D74}"/>
              </a:ext>
            </a:extLst>
          </p:cNvPr>
          <p:cNvSpPr/>
          <p:nvPr/>
        </p:nvSpPr>
        <p:spPr>
          <a:xfrm>
            <a:off x="6348457"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enhance reputation</a:t>
            </a:r>
          </a:p>
        </p:txBody>
      </p:sp>
      <p:sp>
        <p:nvSpPr>
          <p:cNvPr id="17" name="Oval 16">
            <a:extLst>
              <a:ext uri="{FF2B5EF4-FFF2-40B4-BE49-F238E27FC236}">
                <a16:creationId xmlns:a16="http://schemas.microsoft.com/office/drawing/2014/main" id="{12C59209-8DE9-468E-840E-54A32AA58090}"/>
              </a:ext>
            </a:extLst>
          </p:cNvPr>
          <p:cNvSpPr/>
          <p:nvPr/>
        </p:nvSpPr>
        <p:spPr>
          <a:xfrm>
            <a:off x="6348457"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reduce the number of competitors</a:t>
            </a:r>
          </a:p>
        </p:txBody>
      </p:sp>
      <p:sp>
        <p:nvSpPr>
          <p:cNvPr id="18" name="Oval 17">
            <a:extLst>
              <a:ext uri="{FF2B5EF4-FFF2-40B4-BE49-F238E27FC236}">
                <a16:creationId xmlns:a16="http://schemas.microsoft.com/office/drawing/2014/main" id="{AAC250B5-447A-4454-9365-F413915D5462}"/>
              </a:ext>
            </a:extLst>
          </p:cNvPr>
          <p:cNvSpPr/>
          <p:nvPr/>
        </p:nvSpPr>
        <p:spPr>
          <a:xfrm>
            <a:off x="3719174" y="3489927"/>
            <a:ext cx="2018698" cy="113890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To take advantage of a bargain</a:t>
            </a:r>
          </a:p>
        </p:txBody>
      </p:sp>
      <p:sp>
        <p:nvSpPr>
          <p:cNvPr id="19" name="Oval 18">
            <a:extLst>
              <a:ext uri="{FF2B5EF4-FFF2-40B4-BE49-F238E27FC236}">
                <a16:creationId xmlns:a16="http://schemas.microsoft.com/office/drawing/2014/main" id="{16F4C450-2050-4624-B4D5-B800C5FA6805}"/>
              </a:ext>
            </a:extLst>
          </p:cNvPr>
          <p:cNvSpPr/>
          <p:nvPr/>
        </p:nvSpPr>
        <p:spPr>
          <a:xfrm>
            <a:off x="6348457"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quire certain patents, copyrights, trade secrets, or other intangible assets</a:t>
            </a:r>
          </a:p>
        </p:txBody>
      </p:sp>
    </p:spTree>
    <p:extLst>
      <p:ext uri="{BB962C8B-B14F-4D97-AF65-F5344CB8AC3E}">
        <p14:creationId xmlns:p14="http://schemas.microsoft.com/office/powerpoint/2010/main" val="3127765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nsert company name] decided to focus on the following [insert number] M&amp;A strategic objectives</a:t>
            </a:r>
            <a:endParaRPr lang="en-US" sz="2400"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2</a:t>
            </a:fld>
            <a:endParaRPr lang="en-US" dirty="0">
              <a:solidFill>
                <a:srgbClr val="ADAFBB"/>
              </a:solidFill>
            </a:endParaRPr>
          </a:p>
        </p:txBody>
      </p:sp>
      <p:sp>
        <p:nvSpPr>
          <p:cNvPr id="6" name="Oval 5">
            <a:extLst>
              <a:ext uri="{FF2B5EF4-FFF2-40B4-BE49-F238E27FC236}">
                <a16:creationId xmlns:a16="http://schemas.microsoft.com/office/drawing/2014/main" id="{B920DB00-1732-43D5-AE64-40069E5E220A}"/>
              </a:ext>
            </a:extLst>
          </p:cNvPr>
          <p:cNvSpPr/>
          <p:nvPr/>
        </p:nvSpPr>
        <p:spPr>
          <a:xfrm>
            <a:off x="3719174"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offer new products and services</a:t>
            </a:r>
          </a:p>
        </p:txBody>
      </p:sp>
      <p:sp>
        <p:nvSpPr>
          <p:cNvPr id="7" name="Oval 6">
            <a:extLst>
              <a:ext uri="{FF2B5EF4-FFF2-40B4-BE49-F238E27FC236}">
                <a16:creationId xmlns:a16="http://schemas.microsoft.com/office/drawing/2014/main" id="{0118B5E1-B7D5-4D7A-AF40-FAB6F3A716FE}"/>
              </a:ext>
            </a:extLst>
          </p:cNvPr>
          <p:cNvSpPr/>
          <p:nvPr/>
        </p:nvSpPr>
        <p:spPr>
          <a:xfrm>
            <a:off x="8977740" y="1747423"/>
            <a:ext cx="2018698" cy="113890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To increase market share by acquiring new customers</a:t>
            </a:r>
          </a:p>
        </p:txBody>
      </p:sp>
      <p:sp>
        <p:nvSpPr>
          <p:cNvPr id="8" name="Oval 7">
            <a:extLst>
              <a:ext uri="{FF2B5EF4-FFF2-40B4-BE49-F238E27FC236}">
                <a16:creationId xmlns:a16="http://schemas.microsoft.com/office/drawing/2014/main" id="{C104F7B4-DF7D-4E85-AC9F-9C6FF5FDF914}"/>
              </a:ext>
            </a:extLst>
          </p:cNvPr>
          <p:cNvSpPr/>
          <p:nvPr/>
        </p:nvSpPr>
        <p:spPr>
          <a:xfrm>
            <a:off x="1089891" y="1747423"/>
            <a:ext cx="2018698" cy="113890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To add a distribution channel</a:t>
            </a:r>
          </a:p>
        </p:txBody>
      </p:sp>
      <p:sp>
        <p:nvSpPr>
          <p:cNvPr id="9" name="Oval 8">
            <a:extLst>
              <a:ext uri="{FF2B5EF4-FFF2-40B4-BE49-F238E27FC236}">
                <a16:creationId xmlns:a16="http://schemas.microsoft.com/office/drawing/2014/main" id="{99C4A072-1BF4-4128-9D99-7D2A5529EE1E}"/>
              </a:ext>
            </a:extLst>
          </p:cNvPr>
          <p:cNvSpPr/>
          <p:nvPr/>
        </p:nvSpPr>
        <p:spPr>
          <a:xfrm>
            <a:off x="1089891"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enter a new domestic or international market</a:t>
            </a:r>
          </a:p>
        </p:txBody>
      </p:sp>
      <p:sp>
        <p:nvSpPr>
          <p:cNvPr id="10" name="Oval 9">
            <a:extLst>
              <a:ext uri="{FF2B5EF4-FFF2-40B4-BE49-F238E27FC236}">
                <a16:creationId xmlns:a16="http://schemas.microsoft.com/office/drawing/2014/main" id="{A3F876CD-326B-4FA5-B13A-A902D9C7332D}"/>
              </a:ext>
            </a:extLst>
          </p:cNvPr>
          <p:cNvSpPr/>
          <p:nvPr/>
        </p:nvSpPr>
        <p:spPr>
          <a:xfrm>
            <a:off x="8977740"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hieve operating synergies and economies of scale</a:t>
            </a:r>
          </a:p>
        </p:txBody>
      </p:sp>
      <p:sp>
        <p:nvSpPr>
          <p:cNvPr id="11" name="Oval 10">
            <a:extLst>
              <a:ext uri="{FF2B5EF4-FFF2-40B4-BE49-F238E27FC236}">
                <a16:creationId xmlns:a16="http://schemas.microsoft.com/office/drawing/2014/main" id="{899E6F83-7BB0-4E20-8A52-FF081BD71F4E}"/>
              </a:ext>
            </a:extLst>
          </p:cNvPr>
          <p:cNvSpPr/>
          <p:nvPr/>
        </p:nvSpPr>
        <p:spPr>
          <a:xfrm>
            <a:off x="3719174"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strengthen key business areas such as research &amp; development, sales or marketing</a:t>
            </a:r>
          </a:p>
        </p:txBody>
      </p:sp>
      <p:sp>
        <p:nvSpPr>
          <p:cNvPr id="12" name="Oval 11">
            <a:extLst>
              <a:ext uri="{FF2B5EF4-FFF2-40B4-BE49-F238E27FC236}">
                <a16:creationId xmlns:a16="http://schemas.microsoft.com/office/drawing/2014/main" id="{C457F947-2BD3-4D47-9DFC-30CD26DC9FDB}"/>
              </a:ext>
            </a:extLst>
          </p:cNvPr>
          <p:cNvSpPr/>
          <p:nvPr/>
        </p:nvSpPr>
        <p:spPr>
          <a:xfrm>
            <a:off x="8977740"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cess a new technology</a:t>
            </a:r>
          </a:p>
        </p:txBody>
      </p:sp>
      <p:sp>
        <p:nvSpPr>
          <p:cNvPr id="14" name="Oval 13">
            <a:extLst>
              <a:ext uri="{FF2B5EF4-FFF2-40B4-BE49-F238E27FC236}">
                <a16:creationId xmlns:a16="http://schemas.microsoft.com/office/drawing/2014/main" id="{B908BDAD-49ED-4DE8-989B-12D2029B8391}"/>
              </a:ext>
            </a:extLst>
          </p:cNvPr>
          <p:cNvSpPr/>
          <p:nvPr/>
        </p:nvSpPr>
        <p:spPr>
          <a:xfrm>
            <a:off x="1089891"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quire trained human resources</a:t>
            </a:r>
          </a:p>
        </p:txBody>
      </p:sp>
      <p:sp>
        <p:nvSpPr>
          <p:cNvPr id="15" name="Oval 14">
            <a:extLst>
              <a:ext uri="{FF2B5EF4-FFF2-40B4-BE49-F238E27FC236}">
                <a16:creationId xmlns:a16="http://schemas.microsoft.com/office/drawing/2014/main" id="{882F2B8A-B8CC-4578-A802-7C982F3E8D74}"/>
              </a:ext>
            </a:extLst>
          </p:cNvPr>
          <p:cNvSpPr/>
          <p:nvPr/>
        </p:nvSpPr>
        <p:spPr>
          <a:xfrm>
            <a:off x="6348457"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enhance reputation</a:t>
            </a:r>
          </a:p>
        </p:txBody>
      </p:sp>
      <p:sp>
        <p:nvSpPr>
          <p:cNvPr id="17" name="Oval 16">
            <a:extLst>
              <a:ext uri="{FF2B5EF4-FFF2-40B4-BE49-F238E27FC236}">
                <a16:creationId xmlns:a16="http://schemas.microsoft.com/office/drawing/2014/main" id="{12C59209-8DE9-468E-840E-54A32AA58090}"/>
              </a:ext>
            </a:extLst>
          </p:cNvPr>
          <p:cNvSpPr/>
          <p:nvPr/>
        </p:nvSpPr>
        <p:spPr>
          <a:xfrm>
            <a:off x="6348457"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reduce the number of competitors</a:t>
            </a:r>
          </a:p>
        </p:txBody>
      </p:sp>
      <p:sp>
        <p:nvSpPr>
          <p:cNvPr id="18" name="Oval 17">
            <a:extLst>
              <a:ext uri="{FF2B5EF4-FFF2-40B4-BE49-F238E27FC236}">
                <a16:creationId xmlns:a16="http://schemas.microsoft.com/office/drawing/2014/main" id="{AAC250B5-447A-4454-9365-F413915D5462}"/>
              </a:ext>
            </a:extLst>
          </p:cNvPr>
          <p:cNvSpPr/>
          <p:nvPr/>
        </p:nvSpPr>
        <p:spPr>
          <a:xfrm>
            <a:off x="3719174" y="3489927"/>
            <a:ext cx="2018698" cy="113890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To take advantage of a bargain</a:t>
            </a:r>
          </a:p>
        </p:txBody>
      </p:sp>
      <p:sp>
        <p:nvSpPr>
          <p:cNvPr id="19" name="Oval 18">
            <a:extLst>
              <a:ext uri="{FF2B5EF4-FFF2-40B4-BE49-F238E27FC236}">
                <a16:creationId xmlns:a16="http://schemas.microsoft.com/office/drawing/2014/main" id="{16F4C450-2050-4624-B4D5-B800C5FA6805}"/>
              </a:ext>
            </a:extLst>
          </p:cNvPr>
          <p:cNvSpPr/>
          <p:nvPr/>
        </p:nvSpPr>
        <p:spPr>
          <a:xfrm>
            <a:off x="6348457"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quire certain patents, copyrights, trade secrets, or other intangible assets</a:t>
            </a:r>
          </a:p>
        </p:txBody>
      </p:sp>
      <p:sp>
        <p:nvSpPr>
          <p:cNvPr id="20" name="Rounded Rectangular Callout 19">
            <a:extLst>
              <a:ext uri="{FF2B5EF4-FFF2-40B4-BE49-F238E27FC236}">
                <a16:creationId xmlns:a16="http://schemas.microsoft.com/office/drawing/2014/main" id="{62F0D216-EF1E-4E18-A356-C83E6F376C03}"/>
              </a:ext>
            </a:extLst>
          </p:cNvPr>
          <p:cNvSpPr/>
          <p:nvPr/>
        </p:nvSpPr>
        <p:spPr bwMode="auto">
          <a:xfrm>
            <a:off x="4793673" y="1071417"/>
            <a:ext cx="6788727" cy="572655"/>
          </a:xfrm>
          <a:prstGeom prst="wedgeRoundRectCallout">
            <a:avLst>
              <a:gd name="adj1" fmla="val -24311"/>
              <a:gd name="adj2" fmla="val 8084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GB" sz="1050" b="1" dirty="0">
                <a:solidFill>
                  <a:srgbClr val="0C2870"/>
                </a:solidFill>
                <a:latin typeface="Arial" charset="0"/>
                <a:cs typeface="Times New Roman" pitchFamily="18" charset="0"/>
              </a:rPr>
              <a:t>Highlight the strategic objectives that you need to focus on.</a:t>
            </a:r>
            <a:endParaRPr lang="en-US" sz="1050" b="1" dirty="0">
              <a:solidFill>
                <a:srgbClr val="0C2870"/>
              </a:solidFill>
              <a:latin typeface="Arial" charset="0"/>
              <a:cs typeface="Times New Roman" pitchFamily="18" charset="0"/>
            </a:endParaRPr>
          </a:p>
        </p:txBody>
      </p:sp>
      <p:sp>
        <p:nvSpPr>
          <p:cNvPr id="3" name="Rectangle: Rounded Corners 2">
            <a:extLst>
              <a:ext uri="{FF2B5EF4-FFF2-40B4-BE49-F238E27FC236}">
                <a16:creationId xmlns:a16="http://schemas.microsoft.com/office/drawing/2014/main" id="{472A5BA1-6C22-6415-C7B5-3C4979F9BC56}"/>
              </a:ext>
            </a:extLst>
          </p:cNvPr>
          <p:cNvSpPr/>
          <p:nvPr/>
        </p:nvSpPr>
        <p:spPr>
          <a:xfrm>
            <a:off x="10191867" y="237531"/>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33821971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ationale behind each M&amp;A Strategic Objectives</a:t>
            </a:r>
            <a:endParaRPr lang="en-US" b="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13" name="Rectangle 12">
            <a:extLst>
              <a:ext uri="{FF2B5EF4-FFF2-40B4-BE49-F238E27FC236}">
                <a16:creationId xmlns:a16="http://schemas.microsoft.com/office/drawing/2014/main" id="{78C95A21-045C-4AA0-9C8A-794083A2EEAB}"/>
              </a:ext>
            </a:extLst>
          </p:cNvPr>
          <p:cNvSpPr/>
          <p:nvPr/>
        </p:nvSpPr>
        <p:spPr>
          <a:xfrm>
            <a:off x="614149" y="1706804"/>
            <a:ext cx="1810259" cy="15238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Insert M&amp;A strategic objective #1 (e.g. To add a distribution channel)</a:t>
            </a:r>
          </a:p>
        </p:txBody>
      </p:sp>
      <p:sp>
        <p:nvSpPr>
          <p:cNvPr id="15" name="Rectangle 14">
            <a:extLst>
              <a:ext uri="{FF2B5EF4-FFF2-40B4-BE49-F238E27FC236}">
                <a16:creationId xmlns:a16="http://schemas.microsoft.com/office/drawing/2014/main" id="{D5B696F4-FF23-4452-862B-205FFCFFC25F}"/>
              </a:ext>
            </a:extLst>
          </p:cNvPr>
          <p:cNvSpPr/>
          <p:nvPr/>
        </p:nvSpPr>
        <p:spPr>
          <a:xfrm>
            <a:off x="614149" y="4883322"/>
            <a:ext cx="1810259" cy="15214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Insert M&amp;A strategic objective #3</a:t>
            </a:r>
          </a:p>
        </p:txBody>
      </p:sp>
      <p:sp>
        <p:nvSpPr>
          <p:cNvPr id="16" name="Rectangle 15">
            <a:extLst>
              <a:ext uri="{FF2B5EF4-FFF2-40B4-BE49-F238E27FC236}">
                <a16:creationId xmlns:a16="http://schemas.microsoft.com/office/drawing/2014/main" id="{B00AC8FA-076B-42CE-B5CE-C62153FE645C}"/>
              </a:ext>
            </a:extLst>
          </p:cNvPr>
          <p:cNvSpPr/>
          <p:nvPr/>
        </p:nvSpPr>
        <p:spPr>
          <a:xfrm>
            <a:off x="2491900" y="1706804"/>
            <a:ext cx="9095263" cy="15238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dirty="0">
                <a:solidFill>
                  <a:schemeClr val="tx1"/>
                </a:solidFill>
              </a:rPr>
              <a:t>Describe in this white box why you decided to focus on this strategic objective (e.g. the margin of our current distribution channel is decreasing. Acquiring a target with an already established online channel would allow us to significantly increase our profit margin, and speed up our digital transformation). </a:t>
            </a:r>
          </a:p>
        </p:txBody>
      </p:sp>
      <p:sp>
        <p:nvSpPr>
          <p:cNvPr id="14" name="Rectangle 13">
            <a:extLst>
              <a:ext uri="{FF2B5EF4-FFF2-40B4-BE49-F238E27FC236}">
                <a16:creationId xmlns:a16="http://schemas.microsoft.com/office/drawing/2014/main" id="{7386C276-3C29-4D9E-9AD6-05ABDC9949D1}"/>
              </a:ext>
            </a:extLst>
          </p:cNvPr>
          <p:cNvSpPr/>
          <p:nvPr/>
        </p:nvSpPr>
        <p:spPr>
          <a:xfrm>
            <a:off x="614149" y="3295068"/>
            <a:ext cx="1810259" cy="15238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Insert M&amp;A strategic objective #2</a:t>
            </a:r>
          </a:p>
        </p:txBody>
      </p:sp>
      <p:sp>
        <p:nvSpPr>
          <p:cNvPr id="17" name="Rectangle 16">
            <a:extLst>
              <a:ext uri="{FF2B5EF4-FFF2-40B4-BE49-F238E27FC236}">
                <a16:creationId xmlns:a16="http://schemas.microsoft.com/office/drawing/2014/main" id="{AC37EC0F-F3BA-4B5B-8A98-4EF03B48ACEF}"/>
              </a:ext>
            </a:extLst>
          </p:cNvPr>
          <p:cNvSpPr/>
          <p:nvPr/>
        </p:nvSpPr>
        <p:spPr>
          <a:xfrm>
            <a:off x="2491900" y="3295068"/>
            <a:ext cx="9095263" cy="15238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dirty="0">
                <a:solidFill>
                  <a:schemeClr val="tx1"/>
                </a:solidFill>
              </a:rPr>
              <a:t>Describe in this white box why you decided to focus on this strategic objective </a:t>
            </a:r>
          </a:p>
        </p:txBody>
      </p:sp>
      <p:sp>
        <p:nvSpPr>
          <p:cNvPr id="18" name="Rectangle 17">
            <a:extLst>
              <a:ext uri="{FF2B5EF4-FFF2-40B4-BE49-F238E27FC236}">
                <a16:creationId xmlns:a16="http://schemas.microsoft.com/office/drawing/2014/main" id="{8D86D59D-2B25-4AB3-84E9-FDAB79AEF60E}"/>
              </a:ext>
            </a:extLst>
          </p:cNvPr>
          <p:cNvSpPr/>
          <p:nvPr/>
        </p:nvSpPr>
        <p:spPr>
          <a:xfrm>
            <a:off x="2491900" y="4883322"/>
            <a:ext cx="9095263" cy="1521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dirty="0">
                <a:solidFill>
                  <a:schemeClr val="tx1"/>
                </a:solidFill>
              </a:rPr>
              <a:t>Describe in this white box why you decided to focus on this strategic objective </a:t>
            </a:r>
          </a:p>
        </p:txBody>
      </p:sp>
    </p:spTree>
    <p:extLst>
      <p:ext uri="{BB962C8B-B14F-4D97-AF65-F5344CB8AC3E}">
        <p14:creationId xmlns:p14="http://schemas.microsoft.com/office/powerpoint/2010/main" val="7111419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Key performance indicators (KPIs) and Targets</a:t>
            </a:r>
            <a:endParaRPr lang="en-US" b="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12" name="Rectangle 5">
            <a:extLst>
              <a:ext uri="{FF2B5EF4-FFF2-40B4-BE49-F238E27FC236}">
                <a16:creationId xmlns:a16="http://schemas.microsoft.com/office/drawing/2014/main" id="{4E0291DB-1B63-44C7-8388-A883F9AA6938}"/>
              </a:ext>
            </a:extLst>
          </p:cNvPr>
          <p:cNvSpPr>
            <a:spLocks noChangeArrowheads="1"/>
          </p:cNvSpPr>
          <p:nvPr/>
        </p:nvSpPr>
        <p:spPr bwMode="auto">
          <a:xfrm>
            <a:off x="607820" y="2226595"/>
            <a:ext cx="3808370" cy="1348569"/>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0" indent="0" algn="ctr">
              <a:lnSpc>
                <a:spcPct val="90000"/>
              </a:lnSpc>
              <a:buFont typeface="Times" panose="02020603050405020304" pitchFamily="18" charset="0"/>
              <a:buNone/>
            </a:pPr>
            <a:r>
              <a:rPr lang="en-US" altLang="en-US" sz="1400" b="1" dirty="0">
                <a:latin typeface="+mj-lt"/>
              </a:rPr>
              <a:t>Insert the Strategic Objectives #1 (e.g. </a:t>
            </a:r>
            <a:r>
              <a:rPr lang="en-GB" altLang="en-US" sz="1400" b="1" dirty="0">
                <a:latin typeface="+mj-lt"/>
              </a:rPr>
              <a:t>To increase market share by acquiring new customers)</a:t>
            </a:r>
            <a:endParaRPr lang="en-US" altLang="en-US" sz="1400" b="1" dirty="0">
              <a:latin typeface="+mj-lt"/>
            </a:endParaRPr>
          </a:p>
        </p:txBody>
      </p:sp>
      <p:sp>
        <p:nvSpPr>
          <p:cNvPr id="19" name="Rectangle 6">
            <a:extLst>
              <a:ext uri="{FF2B5EF4-FFF2-40B4-BE49-F238E27FC236}">
                <a16:creationId xmlns:a16="http://schemas.microsoft.com/office/drawing/2014/main" id="{5E060E8E-9025-4514-BFA3-3DD22A5996DB}"/>
              </a:ext>
            </a:extLst>
          </p:cNvPr>
          <p:cNvSpPr>
            <a:spLocks noChangeArrowheads="1"/>
          </p:cNvSpPr>
          <p:nvPr/>
        </p:nvSpPr>
        <p:spPr bwMode="auto">
          <a:xfrm>
            <a:off x="607820" y="1706804"/>
            <a:ext cx="3808370" cy="467999"/>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latin typeface="+mj-lt"/>
              </a:rPr>
              <a:t>M&amp;A Strategic Objectives</a:t>
            </a:r>
          </a:p>
        </p:txBody>
      </p:sp>
      <p:sp>
        <p:nvSpPr>
          <p:cNvPr id="20" name="Rectangle 7">
            <a:extLst>
              <a:ext uri="{FF2B5EF4-FFF2-40B4-BE49-F238E27FC236}">
                <a16:creationId xmlns:a16="http://schemas.microsoft.com/office/drawing/2014/main" id="{B6DE7DBC-322D-40AC-80C8-AB9131DEBE1B}"/>
              </a:ext>
            </a:extLst>
          </p:cNvPr>
          <p:cNvSpPr>
            <a:spLocks noChangeArrowheads="1"/>
          </p:cNvSpPr>
          <p:nvPr/>
        </p:nvSpPr>
        <p:spPr bwMode="auto">
          <a:xfrm>
            <a:off x="4515090" y="1706804"/>
            <a:ext cx="3758205" cy="467999"/>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latin typeface="+mj-lt"/>
              </a:rPr>
              <a:t>KPIs</a:t>
            </a:r>
          </a:p>
        </p:txBody>
      </p:sp>
      <p:sp>
        <p:nvSpPr>
          <p:cNvPr id="21" name="Rectangle 17">
            <a:extLst>
              <a:ext uri="{FF2B5EF4-FFF2-40B4-BE49-F238E27FC236}">
                <a16:creationId xmlns:a16="http://schemas.microsoft.com/office/drawing/2014/main" id="{C815BF1C-D874-4406-A410-6CBB1FA6E86E}"/>
              </a:ext>
            </a:extLst>
          </p:cNvPr>
          <p:cNvSpPr>
            <a:spLocks noChangeArrowheads="1"/>
          </p:cNvSpPr>
          <p:nvPr/>
        </p:nvSpPr>
        <p:spPr bwMode="auto">
          <a:xfrm>
            <a:off x="4515090" y="2226595"/>
            <a:ext cx="3758205" cy="1348569"/>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spcBef>
                <a:spcPts val="400"/>
              </a:spcBef>
              <a:spcAft>
                <a:spcPts val="400"/>
              </a:spcAft>
              <a:buFont typeface="Times" panose="02020603050405020304" pitchFamily="18" charset="0"/>
              <a:buChar char="•"/>
            </a:pPr>
            <a:r>
              <a:rPr lang="en-US" altLang="en-US" sz="1200" dirty="0">
                <a:latin typeface="+mj-lt"/>
              </a:rPr>
              <a:t>Insert KPI (e.g. Market share)</a:t>
            </a:r>
          </a:p>
          <a:p>
            <a:pPr marL="114300" indent="-114300">
              <a:spcBef>
                <a:spcPts val="400"/>
              </a:spcBef>
              <a:spcAft>
                <a:spcPts val="400"/>
              </a:spcAft>
              <a:buFont typeface="Times" panose="02020603050405020304" pitchFamily="18" charset="0"/>
              <a:buChar char="•"/>
            </a:pPr>
            <a:r>
              <a:rPr lang="en-US" altLang="en-US" sz="1200" dirty="0">
                <a:latin typeface="+mj-lt"/>
              </a:rPr>
              <a:t>Insert KPI</a:t>
            </a:r>
          </a:p>
          <a:p>
            <a:pPr marL="114300" indent="-114300">
              <a:spcBef>
                <a:spcPts val="400"/>
              </a:spcBef>
              <a:spcAft>
                <a:spcPts val="400"/>
              </a:spcAft>
              <a:buFont typeface="Times" panose="02020603050405020304" pitchFamily="18" charset="0"/>
              <a:buChar char="•"/>
            </a:pPr>
            <a:r>
              <a:rPr lang="en-US" altLang="en-US" sz="1200" dirty="0">
                <a:latin typeface="+mj-lt"/>
              </a:rPr>
              <a:t>Insert KPI</a:t>
            </a:r>
          </a:p>
        </p:txBody>
      </p:sp>
      <p:sp>
        <p:nvSpPr>
          <p:cNvPr id="22" name="Rectangle 35">
            <a:extLst>
              <a:ext uri="{FF2B5EF4-FFF2-40B4-BE49-F238E27FC236}">
                <a16:creationId xmlns:a16="http://schemas.microsoft.com/office/drawing/2014/main" id="{F517AB28-FB93-4CA9-BE6F-D770AD78B62D}"/>
              </a:ext>
            </a:extLst>
          </p:cNvPr>
          <p:cNvSpPr>
            <a:spLocks noChangeArrowheads="1"/>
          </p:cNvSpPr>
          <p:nvPr/>
        </p:nvSpPr>
        <p:spPr bwMode="auto">
          <a:xfrm>
            <a:off x="8372195" y="1706804"/>
            <a:ext cx="1978003" cy="467999"/>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latin typeface="+mj-lt"/>
              </a:rPr>
              <a:t>Targets</a:t>
            </a:r>
          </a:p>
        </p:txBody>
      </p:sp>
      <p:sp>
        <p:nvSpPr>
          <p:cNvPr id="23" name="Rectangle 36">
            <a:extLst>
              <a:ext uri="{FF2B5EF4-FFF2-40B4-BE49-F238E27FC236}">
                <a16:creationId xmlns:a16="http://schemas.microsoft.com/office/drawing/2014/main" id="{593FA7AE-B469-4F66-A695-4184FADE1DFD}"/>
              </a:ext>
            </a:extLst>
          </p:cNvPr>
          <p:cNvSpPr>
            <a:spLocks noChangeArrowheads="1"/>
          </p:cNvSpPr>
          <p:nvPr/>
        </p:nvSpPr>
        <p:spPr bwMode="auto">
          <a:xfrm>
            <a:off x="8372195" y="2226595"/>
            <a:ext cx="1978003" cy="1348569"/>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spcBef>
                <a:spcPts val="400"/>
              </a:spcBef>
              <a:spcAft>
                <a:spcPts val="400"/>
              </a:spcAft>
              <a:buFont typeface="Arial" panose="020B0604020202020204" pitchFamily="34" charset="0"/>
              <a:buChar char="•"/>
            </a:pPr>
            <a:r>
              <a:rPr lang="en-US" altLang="en-US" sz="1200" dirty="0">
                <a:latin typeface="+mj-lt"/>
              </a:rPr>
              <a:t>Insert Target (e.g. 30%)</a:t>
            </a:r>
          </a:p>
          <a:p>
            <a:pPr marL="114300" indent="-114300">
              <a:spcBef>
                <a:spcPts val="400"/>
              </a:spcBef>
              <a:spcAft>
                <a:spcPts val="400"/>
              </a:spcAft>
              <a:buFont typeface="Arial" panose="020B0604020202020204" pitchFamily="34" charset="0"/>
              <a:buChar char="•"/>
            </a:pPr>
            <a:r>
              <a:rPr lang="en-US" altLang="en-US" sz="1200" dirty="0">
                <a:latin typeface="+mj-lt"/>
              </a:rPr>
              <a:t>Insert Target</a:t>
            </a:r>
          </a:p>
          <a:p>
            <a:pPr marL="114300" indent="-114300">
              <a:spcBef>
                <a:spcPts val="400"/>
              </a:spcBef>
              <a:spcAft>
                <a:spcPts val="400"/>
              </a:spcAft>
              <a:buFont typeface="Arial" panose="020B0604020202020204" pitchFamily="34" charset="0"/>
              <a:buChar char="•"/>
            </a:pPr>
            <a:r>
              <a:rPr lang="en-US" altLang="en-US" sz="1200" dirty="0">
                <a:latin typeface="+mj-lt"/>
              </a:rPr>
              <a:t>Insert Target</a:t>
            </a:r>
          </a:p>
        </p:txBody>
      </p:sp>
      <p:sp>
        <p:nvSpPr>
          <p:cNvPr id="24" name="Rectangle 5">
            <a:extLst>
              <a:ext uri="{FF2B5EF4-FFF2-40B4-BE49-F238E27FC236}">
                <a16:creationId xmlns:a16="http://schemas.microsoft.com/office/drawing/2014/main" id="{FC8E095A-5BFA-4799-98E8-A319AC0A8614}"/>
              </a:ext>
            </a:extLst>
          </p:cNvPr>
          <p:cNvSpPr>
            <a:spLocks noChangeArrowheads="1"/>
          </p:cNvSpPr>
          <p:nvPr/>
        </p:nvSpPr>
        <p:spPr bwMode="auto">
          <a:xfrm>
            <a:off x="607820" y="3650495"/>
            <a:ext cx="3808370" cy="1348569"/>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0" indent="0" algn="ctr">
              <a:lnSpc>
                <a:spcPct val="90000"/>
              </a:lnSpc>
              <a:buFont typeface="Times" panose="02020603050405020304" pitchFamily="18" charset="0"/>
              <a:buNone/>
            </a:pPr>
            <a:r>
              <a:rPr lang="en-US" altLang="en-US" sz="1400" b="1" dirty="0">
                <a:latin typeface="+mj-lt"/>
              </a:rPr>
              <a:t>Insert the Strategic Objectives #2</a:t>
            </a:r>
          </a:p>
        </p:txBody>
      </p:sp>
      <p:sp>
        <p:nvSpPr>
          <p:cNvPr id="25" name="Rectangle 17">
            <a:extLst>
              <a:ext uri="{FF2B5EF4-FFF2-40B4-BE49-F238E27FC236}">
                <a16:creationId xmlns:a16="http://schemas.microsoft.com/office/drawing/2014/main" id="{C4F88959-E234-403C-B717-D84CDE68C47F}"/>
              </a:ext>
            </a:extLst>
          </p:cNvPr>
          <p:cNvSpPr>
            <a:spLocks noChangeArrowheads="1"/>
          </p:cNvSpPr>
          <p:nvPr/>
        </p:nvSpPr>
        <p:spPr bwMode="auto">
          <a:xfrm>
            <a:off x="4515090" y="3650495"/>
            <a:ext cx="3758205" cy="1348569"/>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spcBef>
                <a:spcPts val="400"/>
              </a:spcBef>
              <a:spcAft>
                <a:spcPts val="400"/>
              </a:spcAft>
              <a:buFont typeface="Times" panose="02020603050405020304" pitchFamily="18" charset="0"/>
              <a:buChar char="•"/>
            </a:pPr>
            <a:r>
              <a:rPr lang="en-US" altLang="en-US" sz="1200" dirty="0">
                <a:latin typeface="+mj-lt"/>
              </a:rPr>
              <a:t>Insert KPI</a:t>
            </a:r>
          </a:p>
          <a:p>
            <a:pPr marL="114300" indent="-114300">
              <a:spcBef>
                <a:spcPts val="400"/>
              </a:spcBef>
              <a:spcAft>
                <a:spcPts val="400"/>
              </a:spcAft>
              <a:buFont typeface="Times" panose="02020603050405020304" pitchFamily="18" charset="0"/>
              <a:buChar char="•"/>
            </a:pPr>
            <a:r>
              <a:rPr lang="en-US" altLang="en-US" sz="1200" dirty="0">
                <a:latin typeface="+mj-lt"/>
              </a:rPr>
              <a:t>Insert KPI</a:t>
            </a:r>
          </a:p>
          <a:p>
            <a:pPr marL="114300" indent="-114300">
              <a:spcBef>
                <a:spcPts val="400"/>
              </a:spcBef>
              <a:spcAft>
                <a:spcPts val="400"/>
              </a:spcAft>
              <a:buFont typeface="Times" panose="02020603050405020304" pitchFamily="18" charset="0"/>
              <a:buChar char="•"/>
            </a:pPr>
            <a:r>
              <a:rPr lang="en-US" altLang="en-US" sz="1200" dirty="0">
                <a:latin typeface="+mj-lt"/>
              </a:rPr>
              <a:t>Insert KPI</a:t>
            </a:r>
          </a:p>
        </p:txBody>
      </p:sp>
      <p:sp>
        <p:nvSpPr>
          <p:cNvPr id="26" name="Rectangle 36">
            <a:extLst>
              <a:ext uri="{FF2B5EF4-FFF2-40B4-BE49-F238E27FC236}">
                <a16:creationId xmlns:a16="http://schemas.microsoft.com/office/drawing/2014/main" id="{317D3FD7-F686-4CA9-BFC9-4DBCBDF6407A}"/>
              </a:ext>
            </a:extLst>
          </p:cNvPr>
          <p:cNvSpPr>
            <a:spLocks noChangeArrowheads="1"/>
          </p:cNvSpPr>
          <p:nvPr/>
        </p:nvSpPr>
        <p:spPr bwMode="auto">
          <a:xfrm>
            <a:off x="8372195" y="3650495"/>
            <a:ext cx="1978003" cy="1348569"/>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spcBef>
                <a:spcPts val="400"/>
              </a:spcBef>
              <a:spcAft>
                <a:spcPts val="400"/>
              </a:spcAft>
              <a:buFont typeface="Arial" panose="020B0604020202020204" pitchFamily="34" charset="0"/>
              <a:buChar char="•"/>
            </a:pPr>
            <a:r>
              <a:rPr lang="en-US" altLang="en-US" sz="1200" dirty="0">
                <a:latin typeface="+mj-lt"/>
              </a:rPr>
              <a:t>Insert Target</a:t>
            </a:r>
          </a:p>
          <a:p>
            <a:pPr marL="114300" indent="-114300">
              <a:spcBef>
                <a:spcPts val="400"/>
              </a:spcBef>
              <a:spcAft>
                <a:spcPts val="400"/>
              </a:spcAft>
              <a:buFont typeface="Arial" panose="020B0604020202020204" pitchFamily="34" charset="0"/>
              <a:buChar char="•"/>
            </a:pPr>
            <a:r>
              <a:rPr lang="en-US" altLang="en-US" sz="1200" dirty="0">
                <a:latin typeface="+mj-lt"/>
              </a:rPr>
              <a:t>Insert Target</a:t>
            </a:r>
          </a:p>
          <a:p>
            <a:pPr marL="114300" indent="-114300">
              <a:spcBef>
                <a:spcPts val="400"/>
              </a:spcBef>
              <a:spcAft>
                <a:spcPts val="400"/>
              </a:spcAft>
              <a:buFont typeface="Arial" panose="020B0604020202020204" pitchFamily="34" charset="0"/>
              <a:buChar char="•"/>
            </a:pPr>
            <a:r>
              <a:rPr lang="en-US" altLang="en-US" sz="1200" dirty="0">
                <a:latin typeface="+mj-lt"/>
              </a:rPr>
              <a:t>Insert Target</a:t>
            </a:r>
          </a:p>
        </p:txBody>
      </p:sp>
      <p:sp>
        <p:nvSpPr>
          <p:cNvPr id="27" name="Rectangle 5">
            <a:extLst>
              <a:ext uri="{FF2B5EF4-FFF2-40B4-BE49-F238E27FC236}">
                <a16:creationId xmlns:a16="http://schemas.microsoft.com/office/drawing/2014/main" id="{92724919-A5D3-4593-9603-8CE94234A31C}"/>
              </a:ext>
            </a:extLst>
          </p:cNvPr>
          <p:cNvSpPr>
            <a:spLocks noChangeArrowheads="1"/>
          </p:cNvSpPr>
          <p:nvPr/>
        </p:nvSpPr>
        <p:spPr bwMode="auto">
          <a:xfrm>
            <a:off x="607820" y="5074394"/>
            <a:ext cx="3808370" cy="1348569"/>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0" indent="0" algn="ctr">
              <a:lnSpc>
                <a:spcPct val="90000"/>
              </a:lnSpc>
              <a:buFont typeface="Times" panose="02020603050405020304" pitchFamily="18" charset="0"/>
              <a:buNone/>
            </a:pPr>
            <a:r>
              <a:rPr lang="en-US" altLang="en-US" sz="1400" b="1" dirty="0">
                <a:latin typeface="+mj-lt"/>
              </a:rPr>
              <a:t>Insert the Strategic Objectives #3</a:t>
            </a:r>
          </a:p>
        </p:txBody>
      </p:sp>
      <p:sp>
        <p:nvSpPr>
          <p:cNvPr id="28" name="Rectangle 17">
            <a:extLst>
              <a:ext uri="{FF2B5EF4-FFF2-40B4-BE49-F238E27FC236}">
                <a16:creationId xmlns:a16="http://schemas.microsoft.com/office/drawing/2014/main" id="{45096900-840B-4BC9-A275-E5E7E7ADA383}"/>
              </a:ext>
            </a:extLst>
          </p:cNvPr>
          <p:cNvSpPr>
            <a:spLocks noChangeArrowheads="1"/>
          </p:cNvSpPr>
          <p:nvPr/>
        </p:nvSpPr>
        <p:spPr bwMode="auto">
          <a:xfrm>
            <a:off x="4515090" y="5074394"/>
            <a:ext cx="3758205" cy="1348569"/>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spcBef>
                <a:spcPts val="400"/>
              </a:spcBef>
              <a:spcAft>
                <a:spcPts val="400"/>
              </a:spcAft>
              <a:buFont typeface="Times" panose="02020603050405020304" pitchFamily="18" charset="0"/>
              <a:buChar char="•"/>
            </a:pPr>
            <a:r>
              <a:rPr lang="en-US" altLang="en-US" sz="1200" dirty="0">
                <a:latin typeface="+mj-lt"/>
              </a:rPr>
              <a:t>Insert KPI</a:t>
            </a:r>
          </a:p>
          <a:p>
            <a:pPr marL="114300" indent="-114300">
              <a:spcBef>
                <a:spcPts val="400"/>
              </a:spcBef>
              <a:spcAft>
                <a:spcPts val="400"/>
              </a:spcAft>
              <a:buFont typeface="Times" panose="02020603050405020304" pitchFamily="18" charset="0"/>
              <a:buChar char="•"/>
            </a:pPr>
            <a:r>
              <a:rPr lang="en-US" altLang="en-US" sz="1200" dirty="0">
                <a:latin typeface="+mj-lt"/>
              </a:rPr>
              <a:t>Insert KPI</a:t>
            </a:r>
          </a:p>
          <a:p>
            <a:pPr marL="114300" indent="-114300">
              <a:spcBef>
                <a:spcPts val="400"/>
              </a:spcBef>
              <a:spcAft>
                <a:spcPts val="400"/>
              </a:spcAft>
              <a:buFont typeface="Times" panose="02020603050405020304" pitchFamily="18" charset="0"/>
              <a:buChar char="•"/>
            </a:pPr>
            <a:r>
              <a:rPr lang="en-US" altLang="en-US" sz="1200" dirty="0">
                <a:latin typeface="+mj-lt"/>
              </a:rPr>
              <a:t>Insert KPI</a:t>
            </a:r>
          </a:p>
        </p:txBody>
      </p:sp>
      <p:sp>
        <p:nvSpPr>
          <p:cNvPr id="29" name="Rectangle 36">
            <a:extLst>
              <a:ext uri="{FF2B5EF4-FFF2-40B4-BE49-F238E27FC236}">
                <a16:creationId xmlns:a16="http://schemas.microsoft.com/office/drawing/2014/main" id="{7C099157-8817-4F00-92C5-0AC7F4505555}"/>
              </a:ext>
            </a:extLst>
          </p:cNvPr>
          <p:cNvSpPr>
            <a:spLocks noChangeArrowheads="1"/>
          </p:cNvSpPr>
          <p:nvPr/>
        </p:nvSpPr>
        <p:spPr bwMode="auto">
          <a:xfrm>
            <a:off x="8372195" y="5074394"/>
            <a:ext cx="1978003" cy="1348569"/>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spcBef>
                <a:spcPts val="400"/>
              </a:spcBef>
              <a:spcAft>
                <a:spcPts val="400"/>
              </a:spcAft>
              <a:buFont typeface="Arial" panose="020B0604020202020204" pitchFamily="34" charset="0"/>
              <a:buChar char="•"/>
            </a:pPr>
            <a:r>
              <a:rPr lang="en-US" altLang="en-US" sz="1200" dirty="0">
                <a:latin typeface="+mj-lt"/>
              </a:rPr>
              <a:t>Insert Target</a:t>
            </a:r>
          </a:p>
          <a:p>
            <a:pPr marL="114300" indent="-114300">
              <a:spcBef>
                <a:spcPts val="400"/>
              </a:spcBef>
              <a:spcAft>
                <a:spcPts val="400"/>
              </a:spcAft>
              <a:buFont typeface="Arial" panose="020B0604020202020204" pitchFamily="34" charset="0"/>
              <a:buChar char="•"/>
            </a:pPr>
            <a:r>
              <a:rPr lang="en-US" altLang="en-US" sz="1200" dirty="0">
                <a:latin typeface="+mj-lt"/>
              </a:rPr>
              <a:t>Insert Target</a:t>
            </a:r>
          </a:p>
          <a:p>
            <a:pPr marL="114300" indent="-114300">
              <a:spcBef>
                <a:spcPts val="400"/>
              </a:spcBef>
              <a:spcAft>
                <a:spcPts val="400"/>
              </a:spcAft>
              <a:buFont typeface="Arial" panose="020B0604020202020204" pitchFamily="34" charset="0"/>
              <a:buChar char="•"/>
            </a:pPr>
            <a:r>
              <a:rPr lang="en-US" altLang="en-US" sz="1200" dirty="0">
                <a:latin typeface="+mj-lt"/>
              </a:rPr>
              <a:t>Insert Target</a:t>
            </a:r>
          </a:p>
        </p:txBody>
      </p:sp>
      <p:sp>
        <p:nvSpPr>
          <p:cNvPr id="30" name="Rectangle 35">
            <a:extLst>
              <a:ext uri="{FF2B5EF4-FFF2-40B4-BE49-F238E27FC236}">
                <a16:creationId xmlns:a16="http://schemas.microsoft.com/office/drawing/2014/main" id="{6595E624-8410-4BDF-B9BA-B745738D3DE8}"/>
              </a:ext>
            </a:extLst>
          </p:cNvPr>
          <p:cNvSpPr>
            <a:spLocks noChangeArrowheads="1"/>
          </p:cNvSpPr>
          <p:nvPr/>
        </p:nvSpPr>
        <p:spPr bwMode="auto">
          <a:xfrm>
            <a:off x="10449098" y="1706804"/>
            <a:ext cx="1138065" cy="467999"/>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latin typeface="+mj-lt"/>
              </a:rPr>
              <a:t>Status</a:t>
            </a:r>
          </a:p>
        </p:txBody>
      </p:sp>
      <p:sp>
        <p:nvSpPr>
          <p:cNvPr id="31" name="Rectangle 36">
            <a:extLst>
              <a:ext uri="{FF2B5EF4-FFF2-40B4-BE49-F238E27FC236}">
                <a16:creationId xmlns:a16="http://schemas.microsoft.com/office/drawing/2014/main" id="{9D4D69E6-AE53-41C1-BC26-33D78CD00914}"/>
              </a:ext>
            </a:extLst>
          </p:cNvPr>
          <p:cNvSpPr>
            <a:spLocks noChangeArrowheads="1"/>
          </p:cNvSpPr>
          <p:nvPr/>
        </p:nvSpPr>
        <p:spPr bwMode="auto">
          <a:xfrm>
            <a:off x="10449098" y="2226595"/>
            <a:ext cx="1138065" cy="1348569"/>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spcBef>
                <a:spcPts val="400"/>
              </a:spcBef>
              <a:spcAft>
                <a:spcPts val="400"/>
              </a:spcAft>
              <a:buFont typeface="Arial" panose="020B0604020202020204" pitchFamily="34" charset="0"/>
              <a:buChar char="•"/>
            </a:pPr>
            <a:endParaRPr lang="en-US" altLang="en-US" sz="1200" dirty="0">
              <a:solidFill>
                <a:schemeClr val="tx2"/>
              </a:solidFill>
              <a:latin typeface="+mj-lt"/>
            </a:endParaRPr>
          </a:p>
        </p:txBody>
      </p:sp>
      <p:sp>
        <p:nvSpPr>
          <p:cNvPr id="32" name="Rectangle 36">
            <a:extLst>
              <a:ext uri="{FF2B5EF4-FFF2-40B4-BE49-F238E27FC236}">
                <a16:creationId xmlns:a16="http://schemas.microsoft.com/office/drawing/2014/main" id="{7021BF6D-4266-4111-86F3-B73ECA540446}"/>
              </a:ext>
            </a:extLst>
          </p:cNvPr>
          <p:cNvSpPr>
            <a:spLocks noChangeArrowheads="1"/>
          </p:cNvSpPr>
          <p:nvPr/>
        </p:nvSpPr>
        <p:spPr bwMode="auto">
          <a:xfrm>
            <a:off x="10449098" y="3650495"/>
            <a:ext cx="1138065" cy="1348569"/>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spcBef>
                <a:spcPts val="400"/>
              </a:spcBef>
              <a:spcAft>
                <a:spcPts val="400"/>
              </a:spcAft>
              <a:buFont typeface="Arial" panose="020B0604020202020204" pitchFamily="34" charset="0"/>
              <a:buChar char="•"/>
            </a:pPr>
            <a:endParaRPr lang="en-US" altLang="en-US" sz="1200" dirty="0">
              <a:solidFill>
                <a:schemeClr val="tx2"/>
              </a:solidFill>
              <a:latin typeface="+mj-lt"/>
            </a:endParaRPr>
          </a:p>
        </p:txBody>
      </p:sp>
      <p:sp>
        <p:nvSpPr>
          <p:cNvPr id="33" name="Rectangle 36">
            <a:extLst>
              <a:ext uri="{FF2B5EF4-FFF2-40B4-BE49-F238E27FC236}">
                <a16:creationId xmlns:a16="http://schemas.microsoft.com/office/drawing/2014/main" id="{4CE6203A-E2B8-4ADF-B5DC-8ED9C8AF466D}"/>
              </a:ext>
            </a:extLst>
          </p:cNvPr>
          <p:cNvSpPr>
            <a:spLocks noChangeArrowheads="1"/>
          </p:cNvSpPr>
          <p:nvPr/>
        </p:nvSpPr>
        <p:spPr bwMode="auto">
          <a:xfrm>
            <a:off x="10449098" y="5074394"/>
            <a:ext cx="1138065" cy="1348569"/>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spcBef>
                <a:spcPts val="400"/>
              </a:spcBef>
              <a:spcAft>
                <a:spcPts val="400"/>
              </a:spcAft>
              <a:buFont typeface="Arial" panose="020B0604020202020204" pitchFamily="34" charset="0"/>
              <a:buChar char="•"/>
            </a:pPr>
            <a:endParaRPr lang="en-US" altLang="en-US" sz="1200" dirty="0">
              <a:solidFill>
                <a:schemeClr val="tx2"/>
              </a:solidFill>
              <a:latin typeface="+mj-lt"/>
            </a:endParaRPr>
          </a:p>
        </p:txBody>
      </p:sp>
      <p:sp>
        <p:nvSpPr>
          <p:cNvPr id="34" name="Oval 33">
            <a:extLst>
              <a:ext uri="{FF2B5EF4-FFF2-40B4-BE49-F238E27FC236}">
                <a16:creationId xmlns:a16="http://schemas.microsoft.com/office/drawing/2014/main" id="{B0BE125E-E483-4CC1-98D2-86AF1F4274BA}"/>
              </a:ext>
            </a:extLst>
          </p:cNvPr>
          <p:cNvSpPr/>
          <p:nvPr/>
        </p:nvSpPr>
        <p:spPr bwMode="auto">
          <a:xfrm>
            <a:off x="10949550" y="3094879"/>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Oval 34">
            <a:extLst>
              <a:ext uri="{FF2B5EF4-FFF2-40B4-BE49-F238E27FC236}">
                <a16:creationId xmlns:a16="http://schemas.microsoft.com/office/drawing/2014/main" id="{D5BF4A26-1B05-4855-9ED2-C3C7996B6F2E}"/>
              </a:ext>
            </a:extLst>
          </p:cNvPr>
          <p:cNvSpPr/>
          <p:nvPr/>
        </p:nvSpPr>
        <p:spPr bwMode="auto">
          <a:xfrm>
            <a:off x="10949550" y="2821907"/>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6" name="Oval 35">
            <a:extLst>
              <a:ext uri="{FF2B5EF4-FFF2-40B4-BE49-F238E27FC236}">
                <a16:creationId xmlns:a16="http://schemas.microsoft.com/office/drawing/2014/main" id="{69D30CD1-5956-498F-BC7B-D2ABC5979480}"/>
              </a:ext>
            </a:extLst>
          </p:cNvPr>
          <p:cNvSpPr/>
          <p:nvPr/>
        </p:nvSpPr>
        <p:spPr bwMode="auto">
          <a:xfrm>
            <a:off x="10949550" y="2569720"/>
            <a:ext cx="137160" cy="137160"/>
          </a:xfrm>
          <a:prstGeom prst="ellipse">
            <a:avLst/>
          </a:prstGeom>
          <a:solidFill>
            <a:srgbClr val="92D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7" name="Oval 36">
            <a:extLst>
              <a:ext uri="{FF2B5EF4-FFF2-40B4-BE49-F238E27FC236}">
                <a16:creationId xmlns:a16="http://schemas.microsoft.com/office/drawing/2014/main" id="{284E73EA-5209-40EC-9DD4-E36B09B4D98C}"/>
              </a:ext>
            </a:extLst>
          </p:cNvPr>
          <p:cNvSpPr/>
          <p:nvPr/>
        </p:nvSpPr>
        <p:spPr bwMode="auto">
          <a:xfrm>
            <a:off x="10949550" y="4518779"/>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8" name="Oval 37">
            <a:extLst>
              <a:ext uri="{FF2B5EF4-FFF2-40B4-BE49-F238E27FC236}">
                <a16:creationId xmlns:a16="http://schemas.microsoft.com/office/drawing/2014/main" id="{76BE2530-05EC-4DE9-97C0-7BFEA3764BC1}"/>
              </a:ext>
            </a:extLst>
          </p:cNvPr>
          <p:cNvSpPr/>
          <p:nvPr/>
        </p:nvSpPr>
        <p:spPr bwMode="auto">
          <a:xfrm>
            <a:off x="10949550" y="4245807"/>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9" name="Oval 38">
            <a:extLst>
              <a:ext uri="{FF2B5EF4-FFF2-40B4-BE49-F238E27FC236}">
                <a16:creationId xmlns:a16="http://schemas.microsoft.com/office/drawing/2014/main" id="{34C91C73-BEB1-40D5-8C19-20DD265CDB29}"/>
              </a:ext>
            </a:extLst>
          </p:cNvPr>
          <p:cNvSpPr/>
          <p:nvPr/>
        </p:nvSpPr>
        <p:spPr bwMode="auto">
          <a:xfrm>
            <a:off x="10949550" y="3993620"/>
            <a:ext cx="137160" cy="137160"/>
          </a:xfrm>
          <a:prstGeom prst="ellipse">
            <a:avLst/>
          </a:prstGeom>
          <a:solidFill>
            <a:srgbClr val="92D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0" name="Oval 39">
            <a:extLst>
              <a:ext uri="{FF2B5EF4-FFF2-40B4-BE49-F238E27FC236}">
                <a16:creationId xmlns:a16="http://schemas.microsoft.com/office/drawing/2014/main" id="{E6099E2A-CA1B-495C-B4F8-1E1C63AB8705}"/>
              </a:ext>
            </a:extLst>
          </p:cNvPr>
          <p:cNvSpPr/>
          <p:nvPr/>
        </p:nvSpPr>
        <p:spPr bwMode="auto">
          <a:xfrm>
            <a:off x="10949550" y="5942678"/>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Oval 40">
            <a:extLst>
              <a:ext uri="{FF2B5EF4-FFF2-40B4-BE49-F238E27FC236}">
                <a16:creationId xmlns:a16="http://schemas.microsoft.com/office/drawing/2014/main" id="{13FD0847-9FAD-4AD9-B68E-CD3A73AC90FC}"/>
              </a:ext>
            </a:extLst>
          </p:cNvPr>
          <p:cNvSpPr/>
          <p:nvPr/>
        </p:nvSpPr>
        <p:spPr bwMode="auto">
          <a:xfrm>
            <a:off x="10949550" y="5669706"/>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2" name="Oval 41">
            <a:extLst>
              <a:ext uri="{FF2B5EF4-FFF2-40B4-BE49-F238E27FC236}">
                <a16:creationId xmlns:a16="http://schemas.microsoft.com/office/drawing/2014/main" id="{859E570D-4718-4764-A4DB-49BF868AD278}"/>
              </a:ext>
            </a:extLst>
          </p:cNvPr>
          <p:cNvSpPr/>
          <p:nvPr/>
        </p:nvSpPr>
        <p:spPr bwMode="auto">
          <a:xfrm>
            <a:off x="10949550" y="5417519"/>
            <a:ext cx="137160" cy="137160"/>
          </a:xfrm>
          <a:prstGeom prst="ellipse">
            <a:avLst/>
          </a:prstGeom>
          <a:solidFill>
            <a:srgbClr val="92D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29861241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2" name="Chevron 10">
            <a:extLst>
              <a:ext uri="{FF2B5EF4-FFF2-40B4-BE49-F238E27FC236}">
                <a16:creationId xmlns:a16="http://schemas.microsoft.com/office/drawing/2014/main" id="{33D97927-951B-FDBC-405D-3FFA6888D7A0}"/>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57A88701-A0A5-713E-7940-085AF5621AFD}"/>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CAD1D868-AB3C-5455-8159-F8643B596C19}"/>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3E4293C1-4F6B-A357-5D74-015075BE87A3}"/>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6C6EF6E1-0290-2C7F-0617-99D6F7C7712C}"/>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D28EA6-1E48-682B-483A-1D2D9E557282}"/>
              </a:ext>
            </a:extLst>
          </p:cNvPr>
          <p:cNvSpPr/>
          <p:nvPr/>
        </p:nvSpPr>
        <p:spPr bwMode="auto">
          <a:xfrm>
            <a:off x="544029"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721546FE-C935-2E4C-FB18-478B4EA0E7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38E8AE53-703F-297B-FADE-47C4558406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BF72BEBC-7607-4D38-8563-C0E0EBC67C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48D680B0-3230-18D9-C149-1A41497BFF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8286D6B0-E6B0-25A6-2A38-606C6A43E16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BD60D347-99AE-F756-8D34-8A263B3F4C94}"/>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57F403-BA8B-5619-8B1E-6797017B7D70}"/>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8D9EE62-885D-2134-4421-C528EE663B4A}"/>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88AFE8-4F76-8249-9A59-2E178F544A5F}"/>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561BA85-1AC6-5196-E879-4CA641B433AA}"/>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759BC80-A51A-629C-D18B-EB55E14F4028}"/>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Company mission, vision and values</a:t>
            </a:r>
          </a:p>
          <a:p>
            <a:pPr marL="169863" indent="-169863">
              <a:spcBef>
                <a:spcPts val="400"/>
              </a:spcBef>
              <a:spcAft>
                <a:spcPts val="400"/>
              </a:spcAft>
              <a:buFont typeface="+mj-lt"/>
              <a:buAutoNum type="arabicPeriod"/>
              <a:defRPr/>
            </a:pPr>
            <a:r>
              <a:rPr lang="en-GB" sz="1200" dirty="0"/>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B0F0"/>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C4FFAE33-DF0B-2531-6B3F-484725368A6A}"/>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4" name="Rectangle 23">
            <a:extLst>
              <a:ext uri="{FF2B5EF4-FFF2-40B4-BE49-F238E27FC236}">
                <a16:creationId xmlns:a16="http://schemas.microsoft.com/office/drawing/2014/main" id="{CDFB8376-53D3-488E-62B2-7BEA339725AB}"/>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5" name="Rectangle 24">
            <a:extLst>
              <a:ext uri="{FF2B5EF4-FFF2-40B4-BE49-F238E27FC236}">
                <a16:creationId xmlns:a16="http://schemas.microsoft.com/office/drawing/2014/main" id="{11517964-E29F-E01D-939A-1EE093F5D62A}"/>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31" name="Rectangle 30">
            <a:extLst>
              <a:ext uri="{FF2B5EF4-FFF2-40B4-BE49-F238E27FC236}">
                <a16:creationId xmlns:a16="http://schemas.microsoft.com/office/drawing/2014/main" id="{84366F80-874E-98D9-7CAD-2FD7596B3AC0}"/>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32" name="Graphic 31" descr="Statistics outline">
            <a:extLst>
              <a:ext uri="{FF2B5EF4-FFF2-40B4-BE49-F238E27FC236}">
                <a16:creationId xmlns:a16="http://schemas.microsoft.com/office/drawing/2014/main" id="{1D71B061-859C-D5EC-1851-9CA707B3D20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3" name="Rectangle 32">
            <a:extLst>
              <a:ext uri="{FF2B5EF4-FFF2-40B4-BE49-F238E27FC236}">
                <a16:creationId xmlns:a16="http://schemas.microsoft.com/office/drawing/2014/main" id="{69D21339-09A4-2A06-3EB3-56BEF01B216F}"/>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28804965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M&amp;A team organizational chart</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12" name="Rectangle 11">
            <a:extLst>
              <a:ext uri="{FF2B5EF4-FFF2-40B4-BE49-F238E27FC236}">
                <a16:creationId xmlns:a16="http://schemas.microsoft.com/office/drawing/2014/main" id="{AEC3A11A-D585-4891-A7AB-E2CF58B637BD}"/>
              </a:ext>
            </a:extLst>
          </p:cNvPr>
          <p:cNvSpPr>
            <a:spLocks noChangeArrowheads="1"/>
          </p:cNvSpPr>
          <p:nvPr/>
        </p:nvSpPr>
        <p:spPr bwMode="auto">
          <a:xfrm>
            <a:off x="5116946" y="1578429"/>
            <a:ext cx="1902691" cy="61802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Insert role (e.g. CEO)</a:t>
            </a:r>
          </a:p>
          <a:p>
            <a:pPr algn="ctr"/>
            <a:r>
              <a:rPr lang="en-GB" altLang="ja-JP" sz="1200" dirty="0">
                <a:solidFill>
                  <a:schemeClr val="bg1"/>
                </a:solidFill>
                <a:ea typeface="ＭＳ Ｐゴシック" pitchFamily="50" charset="-128"/>
              </a:rPr>
              <a:t>[Insert name]</a:t>
            </a:r>
          </a:p>
        </p:txBody>
      </p:sp>
      <p:cxnSp>
        <p:nvCxnSpPr>
          <p:cNvPr id="61" name="Straight Connector 60">
            <a:extLst>
              <a:ext uri="{FF2B5EF4-FFF2-40B4-BE49-F238E27FC236}">
                <a16:creationId xmlns:a16="http://schemas.microsoft.com/office/drawing/2014/main" id="{CCBBD65B-F898-4CA7-913E-E53A25D29E0A}"/>
              </a:ext>
            </a:extLst>
          </p:cNvPr>
          <p:cNvCxnSpPr>
            <a:cxnSpLocks/>
            <a:stCxn id="12" idx="2"/>
            <a:endCxn id="75" idx="0"/>
          </p:cNvCxnSpPr>
          <p:nvPr/>
        </p:nvCxnSpPr>
        <p:spPr>
          <a:xfrm>
            <a:off x="6068292" y="2196450"/>
            <a:ext cx="3530" cy="296238"/>
          </a:xfrm>
          <a:prstGeom prst="line">
            <a:avLst/>
          </a:prstGeom>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8419C5-5A4D-4B41-80B7-802D22B58DA4}"/>
              </a:ext>
            </a:extLst>
          </p:cNvPr>
          <p:cNvSpPr>
            <a:spLocks noChangeArrowheads="1"/>
          </p:cNvSpPr>
          <p:nvPr/>
        </p:nvSpPr>
        <p:spPr bwMode="auto">
          <a:xfrm>
            <a:off x="5120476" y="2492688"/>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e.g. Chief Strategy Officer)</a:t>
            </a:r>
          </a:p>
          <a:p>
            <a:pPr algn="ctr"/>
            <a:r>
              <a:rPr lang="en-US" altLang="ja-JP" sz="1200" dirty="0">
                <a:ea typeface="ＭＳ Ｐゴシック" pitchFamily="50" charset="-128"/>
              </a:rPr>
              <a:t>[Insert name]</a:t>
            </a:r>
          </a:p>
        </p:txBody>
      </p:sp>
      <p:sp>
        <p:nvSpPr>
          <p:cNvPr id="31" name="Rectangle 30">
            <a:extLst>
              <a:ext uri="{FF2B5EF4-FFF2-40B4-BE49-F238E27FC236}">
                <a16:creationId xmlns:a16="http://schemas.microsoft.com/office/drawing/2014/main" id="{9550F600-7893-4D06-A6C2-E09058596BE5}"/>
              </a:ext>
            </a:extLst>
          </p:cNvPr>
          <p:cNvSpPr>
            <a:spLocks noChangeArrowheads="1"/>
          </p:cNvSpPr>
          <p:nvPr/>
        </p:nvSpPr>
        <p:spPr bwMode="auto">
          <a:xfrm>
            <a:off x="5120476" y="34382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cxnSp>
        <p:nvCxnSpPr>
          <p:cNvPr id="7" name="Straight Connector 6">
            <a:extLst>
              <a:ext uri="{FF2B5EF4-FFF2-40B4-BE49-F238E27FC236}">
                <a16:creationId xmlns:a16="http://schemas.microsoft.com/office/drawing/2014/main" id="{DABBC2E8-6732-478C-9E7A-4987F26DD43E}"/>
              </a:ext>
            </a:extLst>
          </p:cNvPr>
          <p:cNvCxnSpPr>
            <a:stCxn id="75" idx="2"/>
            <a:endCxn id="31" idx="0"/>
          </p:cNvCxnSpPr>
          <p:nvPr/>
        </p:nvCxnSpPr>
        <p:spPr>
          <a:xfrm>
            <a:off x="6071822" y="3110709"/>
            <a:ext cx="0" cy="327572"/>
          </a:xfrm>
          <a:prstGeom prst="line">
            <a:avLst/>
          </a:prstGeom>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B62A05CD-190F-4EFB-8C43-8B84122C5716}"/>
              </a:ext>
            </a:extLst>
          </p:cNvPr>
          <p:cNvSpPr>
            <a:spLocks noChangeArrowheads="1"/>
          </p:cNvSpPr>
          <p:nvPr/>
        </p:nvSpPr>
        <p:spPr bwMode="auto">
          <a:xfrm>
            <a:off x="7346436" y="34382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sp>
        <p:nvSpPr>
          <p:cNvPr id="41" name="Rectangle 40">
            <a:extLst>
              <a:ext uri="{FF2B5EF4-FFF2-40B4-BE49-F238E27FC236}">
                <a16:creationId xmlns:a16="http://schemas.microsoft.com/office/drawing/2014/main" id="{7A445D4E-F73A-4FC8-84EC-6AD465AB1101}"/>
              </a:ext>
            </a:extLst>
          </p:cNvPr>
          <p:cNvSpPr>
            <a:spLocks noChangeArrowheads="1"/>
          </p:cNvSpPr>
          <p:nvPr/>
        </p:nvSpPr>
        <p:spPr bwMode="auto">
          <a:xfrm>
            <a:off x="9550646" y="34382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sp>
        <p:nvSpPr>
          <p:cNvPr id="42" name="Rectangle 41">
            <a:extLst>
              <a:ext uri="{FF2B5EF4-FFF2-40B4-BE49-F238E27FC236}">
                <a16:creationId xmlns:a16="http://schemas.microsoft.com/office/drawing/2014/main" id="{D299C136-6592-4754-9D1A-99B1B13B84B3}"/>
              </a:ext>
            </a:extLst>
          </p:cNvPr>
          <p:cNvSpPr>
            <a:spLocks noChangeArrowheads="1"/>
          </p:cNvSpPr>
          <p:nvPr/>
        </p:nvSpPr>
        <p:spPr bwMode="auto">
          <a:xfrm>
            <a:off x="690307" y="34382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sp>
        <p:nvSpPr>
          <p:cNvPr id="43" name="Rectangle 42">
            <a:extLst>
              <a:ext uri="{FF2B5EF4-FFF2-40B4-BE49-F238E27FC236}">
                <a16:creationId xmlns:a16="http://schemas.microsoft.com/office/drawing/2014/main" id="{10CB8115-8B3C-4351-872A-48FB0458B3DC}"/>
              </a:ext>
            </a:extLst>
          </p:cNvPr>
          <p:cNvSpPr>
            <a:spLocks noChangeArrowheads="1"/>
          </p:cNvSpPr>
          <p:nvPr/>
        </p:nvSpPr>
        <p:spPr bwMode="auto">
          <a:xfrm>
            <a:off x="2894517" y="34382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cxnSp>
        <p:nvCxnSpPr>
          <p:cNvPr id="10" name="Connector: Elbow 9">
            <a:extLst>
              <a:ext uri="{FF2B5EF4-FFF2-40B4-BE49-F238E27FC236}">
                <a16:creationId xmlns:a16="http://schemas.microsoft.com/office/drawing/2014/main" id="{88877563-035C-43DF-88E3-104CDB21BEDA}"/>
              </a:ext>
            </a:extLst>
          </p:cNvPr>
          <p:cNvCxnSpPr>
            <a:stCxn id="75" idx="2"/>
            <a:endCxn id="40" idx="0"/>
          </p:cNvCxnSpPr>
          <p:nvPr/>
        </p:nvCxnSpPr>
        <p:spPr>
          <a:xfrm rot="16200000" flipH="1">
            <a:off x="7021016" y="2161515"/>
            <a:ext cx="327572" cy="222596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1E1BB265-204D-48CD-8417-F2E29DD8A4DE}"/>
              </a:ext>
            </a:extLst>
          </p:cNvPr>
          <p:cNvCxnSpPr>
            <a:stCxn id="75" idx="2"/>
            <a:endCxn id="43" idx="0"/>
          </p:cNvCxnSpPr>
          <p:nvPr/>
        </p:nvCxnSpPr>
        <p:spPr>
          <a:xfrm rot="5400000">
            <a:off x="4795057" y="2161516"/>
            <a:ext cx="327572" cy="222595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D154A802-4835-4D88-9903-1A36D5081DF9}"/>
              </a:ext>
            </a:extLst>
          </p:cNvPr>
          <p:cNvCxnSpPr>
            <a:stCxn id="75" idx="2"/>
            <a:endCxn id="42" idx="0"/>
          </p:cNvCxnSpPr>
          <p:nvPr/>
        </p:nvCxnSpPr>
        <p:spPr>
          <a:xfrm rot="5400000">
            <a:off x="3692952" y="1059411"/>
            <a:ext cx="327572" cy="443016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01446384-8B5F-4151-B787-802A516950C8}"/>
              </a:ext>
            </a:extLst>
          </p:cNvPr>
          <p:cNvCxnSpPr>
            <a:stCxn id="75" idx="2"/>
            <a:endCxn id="41" idx="0"/>
          </p:cNvCxnSpPr>
          <p:nvPr/>
        </p:nvCxnSpPr>
        <p:spPr>
          <a:xfrm rot="16200000" flipH="1">
            <a:off x="8123121" y="1059410"/>
            <a:ext cx="327572" cy="4430170"/>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CA72457-075D-42E9-BE50-07542FEBBD1F}"/>
              </a:ext>
            </a:extLst>
          </p:cNvPr>
          <p:cNvSpPr>
            <a:spLocks noChangeArrowheads="1"/>
          </p:cNvSpPr>
          <p:nvPr/>
        </p:nvSpPr>
        <p:spPr bwMode="auto">
          <a:xfrm>
            <a:off x="7346436" y="42510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sp>
        <p:nvSpPr>
          <p:cNvPr id="54" name="Rectangle 53">
            <a:extLst>
              <a:ext uri="{FF2B5EF4-FFF2-40B4-BE49-F238E27FC236}">
                <a16:creationId xmlns:a16="http://schemas.microsoft.com/office/drawing/2014/main" id="{FFFB37B3-029A-4B16-B81D-E2B70105E1EC}"/>
              </a:ext>
            </a:extLst>
          </p:cNvPr>
          <p:cNvSpPr>
            <a:spLocks noChangeArrowheads="1"/>
          </p:cNvSpPr>
          <p:nvPr/>
        </p:nvSpPr>
        <p:spPr bwMode="auto">
          <a:xfrm>
            <a:off x="7346436" y="50638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sp>
        <p:nvSpPr>
          <p:cNvPr id="56" name="Rectangle 55">
            <a:extLst>
              <a:ext uri="{FF2B5EF4-FFF2-40B4-BE49-F238E27FC236}">
                <a16:creationId xmlns:a16="http://schemas.microsoft.com/office/drawing/2014/main" id="{DC650899-EAD9-48E4-BE50-A91F302D5A1C}"/>
              </a:ext>
            </a:extLst>
          </p:cNvPr>
          <p:cNvSpPr>
            <a:spLocks noChangeArrowheads="1"/>
          </p:cNvSpPr>
          <p:nvPr/>
        </p:nvSpPr>
        <p:spPr bwMode="auto">
          <a:xfrm>
            <a:off x="2894517" y="42510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cxnSp>
        <p:nvCxnSpPr>
          <p:cNvPr id="28" name="Straight Connector 27">
            <a:extLst>
              <a:ext uri="{FF2B5EF4-FFF2-40B4-BE49-F238E27FC236}">
                <a16:creationId xmlns:a16="http://schemas.microsoft.com/office/drawing/2014/main" id="{2A6CCBAA-CDCD-41DD-9DB5-F0623497FFC2}"/>
              </a:ext>
            </a:extLst>
          </p:cNvPr>
          <p:cNvCxnSpPr>
            <a:stCxn id="43" idx="2"/>
            <a:endCxn id="56" idx="0"/>
          </p:cNvCxnSpPr>
          <p:nvPr/>
        </p:nvCxnSpPr>
        <p:spPr>
          <a:xfrm>
            <a:off x="3845863" y="4056302"/>
            <a:ext cx="0" cy="194779"/>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D2763CA-1AA8-489B-B90A-AFAA5DECD4F6}"/>
              </a:ext>
            </a:extLst>
          </p:cNvPr>
          <p:cNvCxnSpPr>
            <a:stCxn id="40" idx="2"/>
            <a:endCxn id="53" idx="0"/>
          </p:cNvCxnSpPr>
          <p:nvPr/>
        </p:nvCxnSpPr>
        <p:spPr>
          <a:xfrm>
            <a:off x="8297782" y="4056302"/>
            <a:ext cx="0" cy="194779"/>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E75588D-E16E-4B0F-94D8-A9FB738E4472}"/>
              </a:ext>
            </a:extLst>
          </p:cNvPr>
          <p:cNvCxnSpPr>
            <a:stCxn id="53" idx="2"/>
            <a:endCxn id="54" idx="0"/>
          </p:cNvCxnSpPr>
          <p:nvPr/>
        </p:nvCxnSpPr>
        <p:spPr>
          <a:xfrm>
            <a:off x="8297782" y="4869102"/>
            <a:ext cx="0" cy="19477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60251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M&amp;A team organizational chart</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12" name="Rectangle 11">
            <a:extLst>
              <a:ext uri="{FF2B5EF4-FFF2-40B4-BE49-F238E27FC236}">
                <a16:creationId xmlns:a16="http://schemas.microsoft.com/office/drawing/2014/main" id="{AEC3A11A-D585-4891-A7AB-E2CF58B637BD}"/>
              </a:ext>
            </a:extLst>
          </p:cNvPr>
          <p:cNvSpPr>
            <a:spLocks noChangeArrowheads="1"/>
          </p:cNvSpPr>
          <p:nvPr/>
        </p:nvSpPr>
        <p:spPr bwMode="auto">
          <a:xfrm>
            <a:off x="5116946" y="1578429"/>
            <a:ext cx="1902691" cy="61802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Insert role (e.g. CEO)</a:t>
            </a:r>
          </a:p>
          <a:p>
            <a:pPr algn="ctr"/>
            <a:r>
              <a:rPr lang="en-GB" altLang="ja-JP" sz="1200" dirty="0">
                <a:solidFill>
                  <a:schemeClr val="bg1"/>
                </a:solidFill>
                <a:ea typeface="ＭＳ Ｐゴシック" pitchFamily="50" charset="-128"/>
              </a:rPr>
              <a:t>[Insert name]</a:t>
            </a:r>
          </a:p>
        </p:txBody>
      </p:sp>
      <p:cxnSp>
        <p:nvCxnSpPr>
          <p:cNvPr id="61" name="Straight Connector 60">
            <a:extLst>
              <a:ext uri="{FF2B5EF4-FFF2-40B4-BE49-F238E27FC236}">
                <a16:creationId xmlns:a16="http://schemas.microsoft.com/office/drawing/2014/main" id="{CCBBD65B-F898-4CA7-913E-E53A25D29E0A}"/>
              </a:ext>
            </a:extLst>
          </p:cNvPr>
          <p:cNvCxnSpPr>
            <a:cxnSpLocks/>
            <a:stCxn id="12" idx="2"/>
            <a:endCxn id="75" idx="0"/>
          </p:cNvCxnSpPr>
          <p:nvPr/>
        </p:nvCxnSpPr>
        <p:spPr>
          <a:xfrm>
            <a:off x="6068292" y="2196450"/>
            <a:ext cx="3530" cy="296238"/>
          </a:xfrm>
          <a:prstGeom prst="line">
            <a:avLst/>
          </a:prstGeom>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8419C5-5A4D-4B41-80B7-802D22B58DA4}"/>
              </a:ext>
            </a:extLst>
          </p:cNvPr>
          <p:cNvSpPr>
            <a:spLocks noChangeArrowheads="1"/>
          </p:cNvSpPr>
          <p:nvPr/>
        </p:nvSpPr>
        <p:spPr bwMode="auto">
          <a:xfrm>
            <a:off x="5120476" y="2492688"/>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e.g. Chief Strategy Officer)</a:t>
            </a:r>
          </a:p>
          <a:p>
            <a:pPr algn="ctr"/>
            <a:r>
              <a:rPr lang="en-US" altLang="ja-JP" sz="1200" dirty="0">
                <a:ea typeface="ＭＳ Ｐゴシック" pitchFamily="50" charset="-128"/>
              </a:rPr>
              <a:t>[Insert name]</a:t>
            </a:r>
          </a:p>
        </p:txBody>
      </p:sp>
      <p:sp>
        <p:nvSpPr>
          <p:cNvPr id="31" name="Rectangle 30">
            <a:extLst>
              <a:ext uri="{FF2B5EF4-FFF2-40B4-BE49-F238E27FC236}">
                <a16:creationId xmlns:a16="http://schemas.microsoft.com/office/drawing/2014/main" id="{9550F600-7893-4D06-A6C2-E09058596BE5}"/>
              </a:ext>
            </a:extLst>
          </p:cNvPr>
          <p:cNvSpPr>
            <a:spLocks noChangeArrowheads="1"/>
          </p:cNvSpPr>
          <p:nvPr/>
        </p:nvSpPr>
        <p:spPr bwMode="auto">
          <a:xfrm>
            <a:off x="5120476" y="34382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cxnSp>
        <p:nvCxnSpPr>
          <p:cNvPr id="7" name="Straight Connector 6">
            <a:extLst>
              <a:ext uri="{FF2B5EF4-FFF2-40B4-BE49-F238E27FC236}">
                <a16:creationId xmlns:a16="http://schemas.microsoft.com/office/drawing/2014/main" id="{DABBC2E8-6732-478C-9E7A-4987F26DD43E}"/>
              </a:ext>
            </a:extLst>
          </p:cNvPr>
          <p:cNvCxnSpPr>
            <a:stCxn id="75" idx="2"/>
            <a:endCxn id="31" idx="0"/>
          </p:cNvCxnSpPr>
          <p:nvPr/>
        </p:nvCxnSpPr>
        <p:spPr>
          <a:xfrm>
            <a:off x="6071822" y="3110709"/>
            <a:ext cx="0" cy="327572"/>
          </a:xfrm>
          <a:prstGeom prst="line">
            <a:avLst/>
          </a:prstGeom>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B62A05CD-190F-4EFB-8C43-8B84122C5716}"/>
              </a:ext>
            </a:extLst>
          </p:cNvPr>
          <p:cNvSpPr>
            <a:spLocks noChangeArrowheads="1"/>
          </p:cNvSpPr>
          <p:nvPr/>
        </p:nvSpPr>
        <p:spPr bwMode="auto">
          <a:xfrm>
            <a:off x="7346436" y="34382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sp>
        <p:nvSpPr>
          <p:cNvPr id="41" name="Rectangle 40">
            <a:extLst>
              <a:ext uri="{FF2B5EF4-FFF2-40B4-BE49-F238E27FC236}">
                <a16:creationId xmlns:a16="http://schemas.microsoft.com/office/drawing/2014/main" id="{7A445D4E-F73A-4FC8-84EC-6AD465AB1101}"/>
              </a:ext>
            </a:extLst>
          </p:cNvPr>
          <p:cNvSpPr>
            <a:spLocks noChangeArrowheads="1"/>
          </p:cNvSpPr>
          <p:nvPr/>
        </p:nvSpPr>
        <p:spPr bwMode="auto">
          <a:xfrm>
            <a:off x="9550646" y="34382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sp>
        <p:nvSpPr>
          <p:cNvPr id="42" name="Rectangle 41">
            <a:extLst>
              <a:ext uri="{FF2B5EF4-FFF2-40B4-BE49-F238E27FC236}">
                <a16:creationId xmlns:a16="http://schemas.microsoft.com/office/drawing/2014/main" id="{D299C136-6592-4754-9D1A-99B1B13B84B3}"/>
              </a:ext>
            </a:extLst>
          </p:cNvPr>
          <p:cNvSpPr>
            <a:spLocks noChangeArrowheads="1"/>
          </p:cNvSpPr>
          <p:nvPr/>
        </p:nvSpPr>
        <p:spPr bwMode="auto">
          <a:xfrm>
            <a:off x="690307" y="34382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sp>
        <p:nvSpPr>
          <p:cNvPr id="43" name="Rectangle 42">
            <a:extLst>
              <a:ext uri="{FF2B5EF4-FFF2-40B4-BE49-F238E27FC236}">
                <a16:creationId xmlns:a16="http://schemas.microsoft.com/office/drawing/2014/main" id="{10CB8115-8B3C-4351-872A-48FB0458B3DC}"/>
              </a:ext>
            </a:extLst>
          </p:cNvPr>
          <p:cNvSpPr>
            <a:spLocks noChangeArrowheads="1"/>
          </p:cNvSpPr>
          <p:nvPr/>
        </p:nvSpPr>
        <p:spPr bwMode="auto">
          <a:xfrm>
            <a:off x="2894517" y="34382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cxnSp>
        <p:nvCxnSpPr>
          <p:cNvPr id="10" name="Connector: Elbow 9">
            <a:extLst>
              <a:ext uri="{FF2B5EF4-FFF2-40B4-BE49-F238E27FC236}">
                <a16:creationId xmlns:a16="http://schemas.microsoft.com/office/drawing/2014/main" id="{88877563-035C-43DF-88E3-104CDB21BEDA}"/>
              </a:ext>
            </a:extLst>
          </p:cNvPr>
          <p:cNvCxnSpPr>
            <a:stCxn id="75" idx="2"/>
            <a:endCxn id="40" idx="0"/>
          </p:cNvCxnSpPr>
          <p:nvPr/>
        </p:nvCxnSpPr>
        <p:spPr>
          <a:xfrm rot="16200000" flipH="1">
            <a:off x="7021016" y="2161515"/>
            <a:ext cx="327572" cy="222596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1E1BB265-204D-48CD-8417-F2E29DD8A4DE}"/>
              </a:ext>
            </a:extLst>
          </p:cNvPr>
          <p:cNvCxnSpPr>
            <a:stCxn id="75" idx="2"/>
            <a:endCxn id="43" idx="0"/>
          </p:cNvCxnSpPr>
          <p:nvPr/>
        </p:nvCxnSpPr>
        <p:spPr>
          <a:xfrm rot="5400000">
            <a:off x="4795057" y="2161516"/>
            <a:ext cx="327572" cy="222595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D154A802-4835-4D88-9903-1A36D5081DF9}"/>
              </a:ext>
            </a:extLst>
          </p:cNvPr>
          <p:cNvCxnSpPr>
            <a:stCxn id="75" idx="2"/>
            <a:endCxn id="42" idx="0"/>
          </p:cNvCxnSpPr>
          <p:nvPr/>
        </p:nvCxnSpPr>
        <p:spPr>
          <a:xfrm rot="5400000">
            <a:off x="3692952" y="1059411"/>
            <a:ext cx="327572" cy="443016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01446384-8B5F-4151-B787-802A516950C8}"/>
              </a:ext>
            </a:extLst>
          </p:cNvPr>
          <p:cNvCxnSpPr>
            <a:stCxn id="75" idx="2"/>
            <a:endCxn id="41" idx="0"/>
          </p:cNvCxnSpPr>
          <p:nvPr/>
        </p:nvCxnSpPr>
        <p:spPr>
          <a:xfrm rot="16200000" flipH="1">
            <a:off x="8123121" y="1059410"/>
            <a:ext cx="327572" cy="4430170"/>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CA72457-075D-42E9-BE50-07542FEBBD1F}"/>
              </a:ext>
            </a:extLst>
          </p:cNvPr>
          <p:cNvSpPr>
            <a:spLocks noChangeArrowheads="1"/>
          </p:cNvSpPr>
          <p:nvPr/>
        </p:nvSpPr>
        <p:spPr bwMode="auto">
          <a:xfrm>
            <a:off x="7346436" y="42510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sp>
        <p:nvSpPr>
          <p:cNvPr id="54" name="Rectangle 53">
            <a:extLst>
              <a:ext uri="{FF2B5EF4-FFF2-40B4-BE49-F238E27FC236}">
                <a16:creationId xmlns:a16="http://schemas.microsoft.com/office/drawing/2014/main" id="{FFFB37B3-029A-4B16-B81D-E2B70105E1EC}"/>
              </a:ext>
            </a:extLst>
          </p:cNvPr>
          <p:cNvSpPr>
            <a:spLocks noChangeArrowheads="1"/>
          </p:cNvSpPr>
          <p:nvPr/>
        </p:nvSpPr>
        <p:spPr bwMode="auto">
          <a:xfrm>
            <a:off x="7346436" y="50638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sp>
        <p:nvSpPr>
          <p:cNvPr id="56" name="Rectangle 55">
            <a:extLst>
              <a:ext uri="{FF2B5EF4-FFF2-40B4-BE49-F238E27FC236}">
                <a16:creationId xmlns:a16="http://schemas.microsoft.com/office/drawing/2014/main" id="{DC650899-EAD9-48E4-BE50-A91F302D5A1C}"/>
              </a:ext>
            </a:extLst>
          </p:cNvPr>
          <p:cNvSpPr>
            <a:spLocks noChangeArrowheads="1"/>
          </p:cNvSpPr>
          <p:nvPr/>
        </p:nvSpPr>
        <p:spPr bwMode="auto">
          <a:xfrm>
            <a:off x="2894517" y="4251081"/>
            <a:ext cx="1902691" cy="618021"/>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sert role </a:t>
            </a:r>
          </a:p>
          <a:p>
            <a:pPr algn="ctr"/>
            <a:r>
              <a:rPr lang="en-US" altLang="ja-JP" sz="1200" dirty="0">
                <a:ea typeface="ＭＳ Ｐゴシック" pitchFamily="50" charset="-128"/>
              </a:rPr>
              <a:t>[Insert name]</a:t>
            </a:r>
          </a:p>
        </p:txBody>
      </p:sp>
      <p:cxnSp>
        <p:nvCxnSpPr>
          <p:cNvPr id="28" name="Straight Connector 27">
            <a:extLst>
              <a:ext uri="{FF2B5EF4-FFF2-40B4-BE49-F238E27FC236}">
                <a16:creationId xmlns:a16="http://schemas.microsoft.com/office/drawing/2014/main" id="{2A6CCBAA-CDCD-41DD-9DB5-F0623497FFC2}"/>
              </a:ext>
            </a:extLst>
          </p:cNvPr>
          <p:cNvCxnSpPr>
            <a:stCxn id="43" idx="2"/>
            <a:endCxn id="56" idx="0"/>
          </p:cNvCxnSpPr>
          <p:nvPr/>
        </p:nvCxnSpPr>
        <p:spPr>
          <a:xfrm>
            <a:off x="3845863" y="4056302"/>
            <a:ext cx="0" cy="194779"/>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D2763CA-1AA8-489B-B90A-AFAA5DECD4F6}"/>
              </a:ext>
            </a:extLst>
          </p:cNvPr>
          <p:cNvCxnSpPr>
            <a:stCxn id="40" idx="2"/>
            <a:endCxn id="53" idx="0"/>
          </p:cNvCxnSpPr>
          <p:nvPr/>
        </p:nvCxnSpPr>
        <p:spPr>
          <a:xfrm>
            <a:off x="8297782" y="4056302"/>
            <a:ext cx="0" cy="194779"/>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E75588D-E16E-4B0F-94D8-A9FB738E4472}"/>
              </a:ext>
            </a:extLst>
          </p:cNvPr>
          <p:cNvCxnSpPr>
            <a:stCxn id="53" idx="2"/>
            <a:endCxn id="54" idx="0"/>
          </p:cNvCxnSpPr>
          <p:nvPr/>
        </p:nvCxnSpPr>
        <p:spPr>
          <a:xfrm>
            <a:off x="8297782" y="4869102"/>
            <a:ext cx="0" cy="194779"/>
          </a:xfrm>
          <a:prstGeom prst="line">
            <a:avLst/>
          </a:prstGeom>
        </p:spPr>
        <p:style>
          <a:lnRef idx="1">
            <a:schemeClr val="accent1"/>
          </a:lnRef>
          <a:fillRef idx="0">
            <a:schemeClr val="accent1"/>
          </a:fillRef>
          <a:effectRef idx="0">
            <a:schemeClr val="accent1"/>
          </a:effectRef>
          <a:fontRef idx="minor">
            <a:schemeClr val="tx1"/>
          </a:fontRef>
        </p:style>
      </p:cxnSp>
      <p:sp>
        <p:nvSpPr>
          <p:cNvPr id="24" name="Speech Bubble: Rectangle with Corners Rounded 23">
            <a:extLst>
              <a:ext uri="{FF2B5EF4-FFF2-40B4-BE49-F238E27FC236}">
                <a16:creationId xmlns:a16="http://schemas.microsoft.com/office/drawing/2014/main" id="{119FDC65-DF02-4B4A-BFBC-55D5406450C6}"/>
              </a:ext>
            </a:extLst>
          </p:cNvPr>
          <p:cNvSpPr/>
          <p:nvPr/>
        </p:nvSpPr>
        <p:spPr bwMode="auto">
          <a:xfrm>
            <a:off x="8179015" y="786809"/>
            <a:ext cx="3207917" cy="1535631"/>
          </a:xfrm>
          <a:prstGeom prst="wedgeRoundRectCallout">
            <a:avLst>
              <a:gd name="adj1" fmla="val -64496"/>
              <a:gd name="adj2" fmla="val 9583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ere are many different types of organizational structure. To save you some time, we inserted in the next slides different organizational chart templates. Feel free to use the one that is the most aligned to your needs and delete the other ones.</a:t>
            </a:r>
            <a:endParaRPr lang="en-US" sz="1200" b="1" dirty="0">
              <a:solidFill>
                <a:srgbClr val="0C2870"/>
              </a:solidFill>
              <a:latin typeface="Arial" charset="0"/>
              <a:cs typeface="Times New Roman" pitchFamily="18" charset="0"/>
            </a:endParaRPr>
          </a:p>
        </p:txBody>
      </p:sp>
      <p:sp>
        <p:nvSpPr>
          <p:cNvPr id="2" name="Rectangle: Rounded Corners 1">
            <a:extLst>
              <a:ext uri="{FF2B5EF4-FFF2-40B4-BE49-F238E27FC236}">
                <a16:creationId xmlns:a16="http://schemas.microsoft.com/office/drawing/2014/main" id="{57B4F201-4CDB-C6ED-65E3-E8E94E15CC0E}"/>
              </a:ext>
            </a:extLst>
          </p:cNvPr>
          <p:cNvSpPr/>
          <p:nvPr/>
        </p:nvSpPr>
        <p:spPr>
          <a:xfrm>
            <a:off x="10191867" y="237531"/>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16237090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27" name="Rectangle 26">
            <a:extLst>
              <a:ext uri="{FF2B5EF4-FFF2-40B4-BE49-F238E27FC236}">
                <a16:creationId xmlns:a16="http://schemas.microsoft.com/office/drawing/2014/main" id="{4A7737FD-885B-4743-83D6-E15492EC507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p:txBody>
      </p:sp>
      <p:cxnSp>
        <p:nvCxnSpPr>
          <p:cNvPr id="28" name="Connector: Elbow 27">
            <a:extLst>
              <a:ext uri="{FF2B5EF4-FFF2-40B4-BE49-F238E27FC236}">
                <a16:creationId xmlns:a16="http://schemas.microsoft.com/office/drawing/2014/main" id="{13465034-8505-4215-9A75-2727FBA6BDAC}"/>
              </a:ext>
            </a:extLst>
          </p:cNvPr>
          <p:cNvCxnSpPr>
            <a:stCxn id="27" idx="2"/>
            <a:endCxn id="32" idx="0"/>
          </p:cNvCxnSpPr>
          <p:nvPr/>
        </p:nvCxnSpPr>
        <p:spPr>
          <a:xfrm rot="16200000" flipH="1">
            <a:off x="7353039" y="1556641"/>
            <a:ext cx="406398" cy="275281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3628088-6E5B-4D37-81D0-E9165B9AE6C0}"/>
              </a:ext>
            </a:extLst>
          </p:cNvPr>
          <p:cNvCxnSpPr>
            <a:stCxn id="27" idx="2"/>
            <a:endCxn id="31" idx="0"/>
          </p:cNvCxnSpPr>
          <p:nvPr/>
        </p:nvCxnSpPr>
        <p:spPr>
          <a:xfrm rot="5400000">
            <a:off x="4533682" y="1490098"/>
            <a:ext cx="406398" cy="288590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C74D2FC-D5BA-4359-98B7-EEB24A6F7DB4}"/>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Financial Officer</a:t>
            </a:r>
          </a:p>
        </p:txBody>
      </p:sp>
      <p:sp>
        <p:nvSpPr>
          <p:cNvPr id="31" name="Rectangle 30">
            <a:extLst>
              <a:ext uri="{FF2B5EF4-FFF2-40B4-BE49-F238E27FC236}">
                <a16:creationId xmlns:a16="http://schemas.microsoft.com/office/drawing/2014/main" id="{203E7F0B-2463-4EA0-8F46-BC18B5053A57}"/>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Business Unit 1 CEO</a:t>
            </a:r>
          </a:p>
        </p:txBody>
      </p:sp>
      <p:sp>
        <p:nvSpPr>
          <p:cNvPr id="32" name="Rectangle 31">
            <a:extLst>
              <a:ext uri="{FF2B5EF4-FFF2-40B4-BE49-F238E27FC236}">
                <a16:creationId xmlns:a16="http://schemas.microsoft.com/office/drawing/2014/main" id="{5E0DC39B-D046-4E37-8EAE-A8E4FD8A7E69}"/>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US" altLang="ja-JP" sz="1200" b="1" dirty="0">
                <a:solidFill>
                  <a:schemeClr val="tx2"/>
                </a:solidFill>
                <a:ea typeface="ＭＳ Ｐゴシック" pitchFamily="50" charset="-128"/>
              </a:rPr>
              <a:t>Business Unit 2 CEO</a:t>
            </a:r>
          </a:p>
        </p:txBody>
      </p:sp>
      <p:sp>
        <p:nvSpPr>
          <p:cNvPr id="33" name="Rectangle 32">
            <a:extLst>
              <a:ext uri="{FF2B5EF4-FFF2-40B4-BE49-F238E27FC236}">
                <a16:creationId xmlns:a16="http://schemas.microsoft.com/office/drawing/2014/main" id="{68151519-10C4-44C6-81CC-6172A98242D4}"/>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Technology Officer</a:t>
            </a:r>
          </a:p>
        </p:txBody>
      </p:sp>
      <p:sp>
        <p:nvSpPr>
          <p:cNvPr id="34" name="Rectangle 33">
            <a:extLst>
              <a:ext uri="{FF2B5EF4-FFF2-40B4-BE49-F238E27FC236}">
                <a16:creationId xmlns:a16="http://schemas.microsoft.com/office/drawing/2014/main" id="{7C76714E-5B2D-44B7-8108-D78AE3D1B61A}"/>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Operating Officer</a:t>
            </a:r>
          </a:p>
        </p:txBody>
      </p:sp>
      <p:sp>
        <p:nvSpPr>
          <p:cNvPr id="35" name="Rectangle 34">
            <a:extLst>
              <a:ext uri="{FF2B5EF4-FFF2-40B4-BE49-F238E27FC236}">
                <a16:creationId xmlns:a16="http://schemas.microsoft.com/office/drawing/2014/main" id="{B32C32BC-86BB-4430-ADFC-9D581C56A21C}"/>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Technology Officer</a:t>
            </a:r>
          </a:p>
        </p:txBody>
      </p:sp>
      <p:sp>
        <p:nvSpPr>
          <p:cNvPr id="36" name="Rectangle 35">
            <a:extLst>
              <a:ext uri="{FF2B5EF4-FFF2-40B4-BE49-F238E27FC236}">
                <a16:creationId xmlns:a16="http://schemas.microsoft.com/office/drawing/2014/main" id="{5C5EF34C-FB50-4EC9-A5A6-6EF31818B060}"/>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Financial Officer</a:t>
            </a:r>
          </a:p>
        </p:txBody>
      </p:sp>
      <p:sp>
        <p:nvSpPr>
          <p:cNvPr id="37" name="Rectangle 36">
            <a:extLst>
              <a:ext uri="{FF2B5EF4-FFF2-40B4-BE49-F238E27FC236}">
                <a16:creationId xmlns:a16="http://schemas.microsoft.com/office/drawing/2014/main" id="{50652D05-DD41-421F-86D5-3223E77C137D}"/>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Operating Officer</a:t>
            </a:r>
          </a:p>
        </p:txBody>
      </p:sp>
      <p:cxnSp>
        <p:nvCxnSpPr>
          <p:cNvPr id="38" name="Connector: Elbow 37">
            <a:extLst>
              <a:ext uri="{FF2B5EF4-FFF2-40B4-BE49-F238E27FC236}">
                <a16:creationId xmlns:a16="http://schemas.microsoft.com/office/drawing/2014/main" id="{0C6D65D2-7B30-4B1F-9433-6C5220B2B77C}"/>
              </a:ext>
            </a:extLst>
          </p:cNvPr>
          <p:cNvCxnSpPr>
            <a:stCxn id="31" idx="2"/>
            <a:endCxn id="30" idx="0"/>
          </p:cNvCxnSpPr>
          <p:nvPr/>
        </p:nvCxnSpPr>
        <p:spPr>
          <a:xfrm rot="5400000">
            <a:off x="2074693" y="3785864"/>
            <a:ext cx="557996" cy="188047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40A9351A-E4A8-4D34-9F0A-3F0F70A5A2EA}"/>
              </a:ext>
            </a:extLst>
          </p:cNvPr>
          <p:cNvCxnSpPr>
            <a:stCxn id="31" idx="2"/>
            <a:endCxn id="33" idx="0"/>
          </p:cNvCxnSpPr>
          <p:nvPr/>
        </p:nvCxnSpPr>
        <p:spPr>
          <a:xfrm rot="16200000" flipH="1">
            <a:off x="3015763" y="4725270"/>
            <a:ext cx="557996" cy="1663"/>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2CD4ECE5-498A-40FF-8854-A64DF1D2C6F8}"/>
              </a:ext>
            </a:extLst>
          </p:cNvPr>
          <p:cNvCxnSpPr>
            <a:stCxn id="31" idx="2"/>
            <a:endCxn id="34" idx="0"/>
          </p:cNvCxnSpPr>
          <p:nvPr/>
        </p:nvCxnSpPr>
        <p:spPr>
          <a:xfrm rot="16200000" flipH="1">
            <a:off x="3956833" y="3784200"/>
            <a:ext cx="557996" cy="188380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1" name="Connector: Elbow 20">
            <a:extLst>
              <a:ext uri="{FF2B5EF4-FFF2-40B4-BE49-F238E27FC236}">
                <a16:creationId xmlns:a16="http://schemas.microsoft.com/office/drawing/2014/main" id="{4239A4F0-A1BE-4238-81C5-882B29BA2521}"/>
              </a:ext>
            </a:extLst>
          </p:cNvPr>
          <p:cNvCxnSpPr>
            <a:stCxn id="32" idx="2"/>
            <a:endCxn id="35" idx="0"/>
          </p:cNvCxnSpPr>
          <p:nvPr/>
        </p:nvCxnSpPr>
        <p:spPr>
          <a:xfrm>
            <a:off x="8932645" y="4447105"/>
            <a:ext cx="9372" cy="557996"/>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1AE90D8D-8989-4B10-BC71-8AE87C1E275D}"/>
              </a:ext>
            </a:extLst>
          </p:cNvPr>
          <p:cNvCxnSpPr>
            <a:stCxn id="32" idx="2"/>
            <a:endCxn id="36" idx="0"/>
          </p:cNvCxnSpPr>
          <p:nvPr/>
        </p:nvCxnSpPr>
        <p:spPr>
          <a:xfrm rot="5400000">
            <a:off x="7717263" y="3789718"/>
            <a:ext cx="557996" cy="187276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079C38F9-1E61-4211-9F84-22D8C32E7D56}"/>
              </a:ext>
            </a:extLst>
          </p:cNvPr>
          <p:cNvCxnSpPr>
            <a:stCxn id="32" idx="2"/>
            <a:endCxn id="37" idx="0"/>
          </p:cNvCxnSpPr>
          <p:nvPr/>
        </p:nvCxnSpPr>
        <p:spPr>
          <a:xfrm rot="16200000" flipH="1">
            <a:off x="9599405" y="3780344"/>
            <a:ext cx="557996" cy="189151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997593BC-219A-F6A0-E5A9-854CB0C9F418}"/>
              </a:ext>
            </a:extLst>
          </p:cNvPr>
          <p:cNvSpPr/>
          <p:nvPr/>
        </p:nvSpPr>
        <p:spPr>
          <a:xfrm>
            <a:off x="10191867" y="237531"/>
            <a:ext cx="1728000"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t>Additional Template</a:t>
            </a:r>
          </a:p>
        </p:txBody>
      </p:sp>
    </p:spTree>
    <p:extLst>
      <p:ext uri="{BB962C8B-B14F-4D97-AF65-F5344CB8AC3E}">
        <p14:creationId xmlns:p14="http://schemas.microsoft.com/office/powerpoint/2010/main" val="5979338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22" name="Rectangle 21">
            <a:extLst>
              <a:ext uri="{FF2B5EF4-FFF2-40B4-BE49-F238E27FC236}">
                <a16:creationId xmlns:a16="http://schemas.microsoft.com/office/drawing/2014/main" id="{FE8D4114-D8C6-43E8-AF6A-AD38315BC112}"/>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p:txBody>
      </p:sp>
      <p:cxnSp>
        <p:nvCxnSpPr>
          <p:cNvPr id="23" name="Connector: Elbow 22">
            <a:extLst>
              <a:ext uri="{FF2B5EF4-FFF2-40B4-BE49-F238E27FC236}">
                <a16:creationId xmlns:a16="http://schemas.microsoft.com/office/drawing/2014/main" id="{75A27BEB-902F-4895-A930-B10447A20EBD}"/>
              </a:ext>
            </a:extLst>
          </p:cNvPr>
          <p:cNvCxnSpPr>
            <a:cxnSpLocks/>
            <a:stCxn id="22" idx="2"/>
            <a:endCxn id="51" idx="0"/>
          </p:cNvCxnSpPr>
          <p:nvPr/>
        </p:nvCxnSpPr>
        <p:spPr>
          <a:xfrm rot="16200000" flipH="1">
            <a:off x="8102229" y="807451"/>
            <a:ext cx="406398" cy="425119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E3AE8FF4-4D2D-41B5-803A-6C1BE08921A2}"/>
              </a:ext>
            </a:extLst>
          </p:cNvPr>
          <p:cNvCxnSpPr>
            <a:cxnSpLocks/>
            <a:stCxn id="22" idx="2"/>
            <a:endCxn id="48" idx="0"/>
          </p:cNvCxnSpPr>
          <p:nvPr/>
        </p:nvCxnSpPr>
        <p:spPr>
          <a:xfrm rot="5400000">
            <a:off x="3867292" y="823708"/>
            <a:ext cx="406398" cy="421868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8361CDB-6382-48BE-97F5-1BED7884909F}"/>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FO</a:t>
            </a:r>
          </a:p>
        </p:txBody>
      </p:sp>
      <p:sp>
        <p:nvSpPr>
          <p:cNvPr id="26" name="Rectangle 25">
            <a:extLst>
              <a:ext uri="{FF2B5EF4-FFF2-40B4-BE49-F238E27FC236}">
                <a16:creationId xmlns:a16="http://schemas.microsoft.com/office/drawing/2014/main" id="{5AD58A05-2BD2-40F1-9A02-700183C3096E}"/>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FO</a:t>
            </a:r>
          </a:p>
        </p:txBody>
      </p:sp>
      <p:sp>
        <p:nvSpPr>
          <p:cNvPr id="44" name="Rectangle 43">
            <a:extLst>
              <a:ext uri="{FF2B5EF4-FFF2-40B4-BE49-F238E27FC236}">
                <a16:creationId xmlns:a16="http://schemas.microsoft.com/office/drawing/2014/main" id="{509BD734-2FDF-4AC2-8C44-0524D1F67D29}"/>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TO</a:t>
            </a:r>
          </a:p>
        </p:txBody>
      </p:sp>
      <p:sp>
        <p:nvSpPr>
          <p:cNvPr id="45" name="Rectangle 44">
            <a:extLst>
              <a:ext uri="{FF2B5EF4-FFF2-40B4-BE49-F238E27FC236}">
                <a16:creationId xmlns:a16="http://schemas.microsoft.com/office/drawing/2014/main" id="{0F410E93-FDFE-4579-86D8-81038E0A0727}"/>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OO</a:t>
            </a:r>
          </a:p>
        </p:txBody>
      </p:sp>
      <p:sp>
        <p:nvSpPr>
          <p:cNvPr id="46" name="Rectangle 45">
            <a:extLst>
              <a:ext uri="{FF2B5EF4-FFF2-40B4-BE49-F238E27FC236}">
                <a16:creationId xmlns:a16="http://schemas.microsoft.com/office/drawing/2014/main" id="{A0596E4D-520B-41FE-8819-EE68D9138726}"/>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TO</a:t>
            </a:r>
          </a:p>
        </p:txBody>
      </p:sp>
      <p:sp>
        <p:nvSpPr>
          <p:cNvPr id="47" name="Rectangle 46">
            <a:extLst>
              <a:ext uri="{FF2B5EF4-FFF2-40B4-BE49-F238E27FC236}">
                <a16:creationId xmlns:a16="http://schemas.microsoft.com/office/drawing/2014/main" id="{96EE69CF-8D9F-451A-BCD7-88D638FA823F}"/>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OO</a:t>
            </a:r>
          </a:p>
        </p:txBody>
      </p:sp>
      <p:sp>
        <p:nvSpPr>
          <p:cNvPr id="48" name="Rectangle 47">
            <a:extLst>
              <a:ext uri="{FF2B5EF4-FFF2-40B4-BE49-F238E27FC236}">
                <a16:creationId xmlns:a16="http://schemas.microsoft.com/office/drawing/2014/main" id="{DD8FBD90-1C94-4B6D-B9CA-0C94D9C63AA8}"/>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Financial Officer</a:t>
            </a:r>
          </a:p>
        </p:txBody>
      </p:sp>
      <p:sp>
        <p:nvSpPr>
          <p:cNvPr id="49" name="Rectangle 48">
            <a:extLst>
              <a:ext uri="{FF2B5EF4-FFF2-40B4-BE49-F238E27FC236}">
                <a16:creationId xmlns:a16="http://schemas.microsoft.com/office/drawing/2014/main" id="{4B142AF1-E03A-41CF-9FD4-FDB880C39248}"/>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Technology Officer</a:t>
            </a:r>
          </a:p>
        </p:txBody>
      </p:sp>
      <p:sp>
        <p:nvSpPr>
          <p:cNvPr id="50" name="Rectangle 49">
            <a:extLst>
              <a:ext uri="{FF2B5EF4-FFF2-40B4-BE49-F238E27FC236}">
                <a16:creationId xmlns:a16="http://schemas.microsoft.com/office/drawing/2014/main" id="{A8B5571A-AA67-419C-BBEF-6BECE42F09FB}"/>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Operating Officer</a:t>
            </a:r>
          </a:p>
        </p:txBody>
      </p:sp>
      <p:sp>
        <p:nvSpPr>
          <p:cNvPr id="51" name="Rectangle 50">
            <a:extLst>
              <a:ext uri="{FF2B5EF4-FFF2-40B4-BE49-F238E27FC236}">
                <a16:creationId xmlns:a16="http://schemas.microsoft.com/office/drawing/2014/main" id="{05E1392B-DEAB-4794-910C-21CCAE1C47B5}"/>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Chief Marketing Officer</a:t>
            </a:r>
          </a:p>
        </p:txBody>
      </p:sp>
      <p:sp>
        <p:nvSpPr>
          <p:cNvPr id="52" name="Rectangle 51">
            <a:extLst>
              <a:ext uri="{FF2B5EF4-FFF2-40B4-BE49-F238E27FC236}">
                <a16:creationId xmlns:a16="http://schemas.microsoft.com/office/drawing/2014/main" id="{C523AEE8-C3D2-4FFF-9D81-9C3AB8AF0812}"/>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MO</a:t>
            </a:r>
          </a:p>
        </p:txBody>
      </p:sp>
      <p:sp>
        <p:nvSpPr>
          <p:cNvPr id="53" name="Rectangle 52">
            <a:extLst>
              <a:ext uri="{FF2B5EF4-FFF2-40B4-BE49-F238E27FC236}">
                <a16:creationId xmlns:a16="http://schemas.microsoft.com/office/drawing/2014/main" id="{4A4468AF-B0D9-49AF-AC29-099DEF98044D}"/>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MO</a:t>
            </a:r>
          </a:p>
        </p:txBody>
      </p:sp>
      <p:cxnSp>
        <p:nvCxnSpPr>
          <p:cNvPr id="54" name="Connector: Elbow 53">
            <a:extLst>
              <a:ext uri="{FF2B5EF4-FFF2-40B4-BE49-F238E27FC236}">
                <a16:creationId xmlns:a16="http://schemas.microsoft.com/office/drawing/2014/main" id="{36252A6F-26FB-4DB4-A717-9177531598C5}"/>
              </a:ext>
            </a:extLst>
          </p:cNvPr>
          <p:cNvCxnSpPr>
            <a:cxnSpLocks/>
            <a:stCxn id="22" idx="2"/>
            <a:endCxn id="50" idx="0"/>
          </p:cNvCxnSpPr>
          <p:nvPr/>
        </p:nvCxnSpPr>
        <p:spPr>
          <a:xfrm rot="16200000" flipH="1">
            <a:off x="6690583" y="2219096"/>
            <a:ext cx="406398" cy="142790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A394470-7274-44BF-AF91-83EF20BFF72A}"/>
              </a:ext>
            </a:extLst>
          </p:cNvPr>
          <p:cNvCxnSpPr>
            <a:cxnSpLocks/>
            <a:stCxn id="22" idx="2"/>
            <a:endCxn id="49" idx="0"/>
          </p:cNvCxnSpPr>
          <p:nvPr/>
        </p:nvCxnSpPr>
        <p:spPr>
          <a:xfrm rot="5400000">
            <a:off x="5278938" y="2235354"/>
            <a:ext cx="406398" cy="139538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42484783-24CD-4DF5-B772-8FAC31D9CF81}"/>
              </a:ext>
            </a:extLst>
          </p:cNvPr>
          <p:cNvCxnSpPr>
            <a:cxnSpLocks/>
            <a:stCxn id="48" idx="2"/>
            <a:endCxn id="25" idx="0"/>
          </p:cNvCxnSpPr>
          <p:nvPr/>
        </p:nvCxnSpPr>
        <p:spPr>
          <a:xfrm rot="5400000">
            <a:off x="1329242"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5029551-792B-4A5E-84F6-A3144868DD7B}"/>
              </a:ext>
            </a:extLst>
          </p:cNvPr>
          <p:cNvCxnSpPr>
            <a:cxnSpLocks/>
            <a:stCxn id="48" idx="2"/>
            <a:endCxn id="26" idx="0"/>
          </p:cNvCxnSpPr>
          <p:nvPr/>
        </p:nvCxnSpPr>
        <p:spPr>
          <a:xfrm rot="16200000" flipH="1">
            <a:off x="2035064"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5FE8AE2B-6517-49E2-BA9C-8AFE4694AA73}"/>
              </a:ext>
            </a:extLst>
          </p:cNvPr>
          <p:cNvCxnSpPr>
            <a:cxnSpLocks/>
            <a:stCxn id="49" idx="2"/>
            <a:endCxn id="44" idx="0"/>
          </p:cNvCxnSpPr>
          <p:nvPr/>
        </p:nvCxnSpPr>
        <p:spPr>
          <a:xfrm rot="5400000">
            <a:off x="4152534"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E4E2D757-BD22-4305-A06E-84DAB884BE19}"/>
              </a:ext>
            </a:extLst>
          </p:cNvPr>
          <p:cNvCxnSpPr>
            <a:cxnSpLocks/>
            <a:stCxn id="49" idx="2"/>
            <a:endCxn id="46" idx="0"/>
          </p:cNvCxnSpPr>
          <p:nvPr/>
        </p:nvCxnSpPr>
        <p:spPr>
          <a:xfrm rot="16200000" flipH="1">
            <a:off x="4858356"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14F0960-02FE-4D1A-B25B-1BA76B851B9D}"/>
              </a:ext>
            </a:extLst>
          </p:cNvPr>
          <p:cNvCxnSpPr>
            <a:cxnSpLocks/>
            <a:stCxn id="50" idx="2"/>
            <a:endCxn id="45" idx="0"/>
          </p:cNvCxnSpPr>
          <p:nvPr/>
        </p:nvCxnSpPr>
        <p:spPr>
          <a:xfrm rot="5400000">
            <a:off x="6975826"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C812A24C-C9F9-435F-87A0-449F2C025F5E}"/>
              </a:ext>
            </a:extLst>
          </p:cNvPr>
          <p:cNvCxnSpPr>
            <a:cxnSpLocks/>
            <a:stCxn id="50" idx="2"/>
            <a:endCxn id="47" idx="0"/>
          </p:cNvCxnSpPr>
          <p:nvPr/>
        </p:nvCxnSpPr>
        <p:spPr>
          <a:xfrm rot="16200000" flipH="1">
            <a:off x="7681648"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B4C04AC-79D1-41DE-809C-FCB95470EBED}"/>
              </a:ext>
            </a:extLst>
          </p:cNvPr>
          <p:cNvCxnSpPr>
            <a:cxnSpLocks/>
            <a:stCxn id="51" idx="2"/>
            <a:endCxn id="52" idx="0"/>
          </p:cNvCxnSpPr>
          <p:nvPr/>
        </p:nvCxnSpPr>
        <p:spPr>
          <a:xfrm rot="5400000">
            <a:off x="9799117" y="4373191"/>
            <a:ext cx="557995" cy="70582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CE1593BA-22B6-4B20-93CA-D5DA6EAE3C6D}"/>
              </a:ext>
            </a:extLst>
          </p:cNvPr>
          <p:cNvCxnSpPr>
            <a:cxnSpLocks/>
            <a:stCxn id="51" idx="2"/>
            <a:endCxn id="53" idx="0"/>
          </p:cNvCxnSpPr>
          <p:nvPr/>
        </p:nvCxnSpPr>
        <p:spPr>
          <a:xfrm rot="16200000" flipH="1">
            <a:off x="10504939"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9220ADC8-A0CE-D457-9173-252E38F967C4}"/>
              </a:ext>
            </a:extLst>
          </p:cNvPr>
          <p:cNvSpPr/>
          <p:nvPr/>
        </p:nvSpPr>
        <p:spPr>
          <a:xfrm>
            <a:off x="10191867" y="237531"/>
            <a:ext cx="1728000"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t>Additional Template</a:t>
            </a:r>
          </a:p>
        </p:txBody>
      </p:sp>
    </p:spTree>
    <p:extLst>
      <p:ext uri="{BB962C8B-B14F-4D97-AF65-F5344CB8AC3E}">
        <p14:creationId xmlns:p14="http://schemas.microsoft.com/office/powerpoint/2010/main" val="4606323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Guid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can use this deliverable directly for your own purposes. You simply need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have an orange rectangle in the top-right corner. You may decide to delete these slides as they are mainly there to help you fill in the rest of the deliverable. Before you do, copy and paste this document so you always have the original version in case you need it.</a:t>
            </a:r>
          </a:p>
        </p:txBody>
      </p:sp>
    </p:spTree>
    <p:extLst>
      <p:ext uri="{BB962C8B-B14F-4D97-AF65-F5344CB8AC3E}">
        <p14:creationId xmlns:p14="http://schemas.microsoft.com/office/powerpoint/2010/main" val="654898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27" name="Rectangle 26">
            <a:extLst>
              <a:ext uri="{FF2B5EF4-FFF2-40B4-BE49-F238E27FC236}">
                <a16:creationId xmlns:a16="http://schemas.microsoft.com/office/drawing/2014/main" id="{4A7737FD-885B-4743-83D6-E15492EC507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a:p>
            <a:pPr algn="ctr"/>
            <a:r>
              <a:rPr lang="en-GB" altLang="ja-JP" sz="1200" dirty="0">
                <a:solidFill>
                  <a:schemeClr val="bg1"/>
                </a:solidFill>
                <a:ea typeface="ＭＳ Ｐゴシック" pitchFamily="50" charset="-128"/>
              </a:rPr>
              <a:t>John Smith</a:t>
            </a:r>
          </a:p>
        </p:txBody>
      </p:sp>
      <p:cxnSp>
        <p:nvCxnSpPr>
          <p:cNvPr id="28" name="Connector: Elbow 27">
            <a:extLst>
              <a:ext uri="{FF2B5EF4-FFF2-40B4-BE49-F238E27FC236}">
                <a16:creationId xmlns:a16="http://schemas.microsoft.com/office/drawing/2014/main" id="{13465034-8505-4215-9A75-2727FBA6BDAC}"/>
              </a:ext>
            </a:extLst>
          </p:cNvPr>
          <p:cNvCxnSpPr>
            <a:cxnSpLocks/>
            <a:stCxn id="27" idx="2"/>
            <a:endCxn id="47" idx="0"/>
          </p:cNvCxnSpPr>
          <p:nvPr/>
        </p:nvCxnSpPr>
        <p:spPr>
          <a:xfrm rot="16200000" flipH="1">
            <a:off x="8102229" y="807451"/>
            <a:ext cx="406398" cy="425119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3628088-6E5B-4D37-81D0-E9165B9AE6C0}"/>
              </a:ext>
            </a:extLst>
          </p:cNvPr>
          <p:cNvCxnSpPr>
            <a:cxnSpLocks/>
            <a:stCxn id="27" idx="2"/>
            <a:endCxn id="44" idx="0"/>
          </p:cNvCxnSpPr>
          <p:nvPr/>
        </p:nvCxnSpPr>
        <p:spPr>
          <a:xfrm rot="5400000">
            <a:off x="3867292" y="823708"/>
            <a:ext cx="406398" cy="421868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C74D2FC-D5BA-4359-98B7-EEB24A6F7DB4}"/>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FO</a:t>
            </a:r>
          </a:p>
          <a:p>
            <a:pPr algn="ctr"/>
            <a:r>
              <a:rPr lang="en-US" altLang="ja-JP" sz="1200" dirty="0">
                <a:solidFill>
                  <a:schemeClr val="tx2"/>
                </a:solidFill>
                <a:ea typeface="ＭＳ Ｐゴシック" pitchFamily="50" charset="-128"/>
              </a:rPr>
              <a:t>Mike G.</a:t>
            </a:r>
          </a:p>
        </p:txBody>
      </p:sp>
      <p:sp>
        <p:nvSpPr>
          <p:cNvPr id="33" name="Rectangle 32">
            <a:extLst>
              <a:ext uri="{FF2B5EF4-FFF2-40B4-BE49-F238E27FC236}">
                <a16:creationId xmlns:a16="http://schemas.microsoft.com/office/drawing/2014/main" id="{68151519-10C4-44C6-81CC-6172A98242D4}"/>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FO</a:t>
            </a:r>
          </a:p>
          <a:p>
            <a:pPr algn="ctr"/>
            <a:r>
              <a:rPr lang="en-US" altLang="ja-JP" sz="1200" dirty="0">
                <a:solidFill>
                  <a:schemeClr val="tx2"/>
                </a:solidFill>
                <a:ea typeface="ＭＳ Ｐゴシック" pitchFamily="50" charset="-128"/>
              </a:rPr>
              <a:t>Pierre G.</a:t>
            </a:r>
          </a:p>
        </p:txBody>
      </p:sp>
      <p:sp>
        <p:nvSpPr>
          <p:cNvPr id="34" name="Rectangle 33">
            <a:extLst>
              <a:ext uri="{FF2B5EF4-FFF2-40B4-BE49-F238E27FC236}">
                <a16:creationId xmlns:a16="http://schemas.microsoft.com/office/drawing/2014/main" id="{7C76714E-5B2D-44B7-8108-D78AE3D1B61A}"/>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TO</a:t>
            </a:r>
          </a:p>
          <a:p>
            <a:pPr algn="ctr"/>
            <a:r>
              <a:rPr lang="en-US" altLang="ja-JP" sz="1200" dirty="0">
                <a:solidFill>
                  <a:schemeClr val="tx2"/>
                </a:solidFill>
                <a:ea typeface="ＭＳ Ｐゴシック" pitchFamily="50" charset="-128"/>
              </a:rPr>
              <a:t>John V.</a:t>
            </a:r>
          </a:p>
        </p:txBody>
      </p:sp>
      <p:sp>
        <p:nvSpPr>
          <p:cNvPr id="35" name="Rectangle 34">
            <a:extLst>
              <a:ext uri="{FF2B5EF4-FFF2-40B4-BE49-F238E27FC236}">
                <a16:creationId xmlns:a16="http://schemas.microsoft.com/office/drawing/2014/main" id="{B32C32BC-86BB-4430-ADFC-9D581C56A21C}"/>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OO</a:t>
            </a:r>
          </a:p>
          <a:p>
            <a:pPr algn="ctr"/>
            <a:r>
              <a:rPr lang="en-US" altLang="ja-JP" sz="1200" dirty="0">
                <a:solidFill>
                  <a:schemeClr val="tx2"/>
                </a:solidFill>
                <a:ea typeface="ＭＳ Ｐゴシック" pitchFamily="50" charset="-128"/>
              </a:rPr>
              <a:t>Claire H.</a:t>
            </a:r>
          </a:p>
        </p:txBody>
      </p:sp>
      <p:sp>
        <p:nvSpPr>
          <p:cNvPr id="36" name="Rectangle 35">
            <a:extLst>
              <a:ext uri="{FF2B5EF4-FFF2-40B4-BE49-F238E27FC236}">
                <a16:creationId xmlns:a16="http://schemas.microsoft.com/office/drawing/2014/main" id="{5C5EF34C-FB50-4EC9-A5A6-6EF31818B060}"/>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TO</a:t>
            </a:r>
          </a:p>
          <a:p>
            <a:pPr algn="ctr"/>
            <a:r>
              <a:rPr lang="en-GB" altLang="ja-JP" sz="1200" dirty="0">
                <a:ea typeface="ＭＳ Ｐゴシック" pitchFamily="50" charset="-128"/>
              </a:rPr>
              <a:t>Claire G.</a:t>
            </a:r>
          </a:p>
        </p:txBody>
      </p:sp>
      <p:sp>
        <p:nvSpPr>
          <p:cNvPr id="37" name="Rectangle 36">
            <a:extLst>
              <a:ext uri="{FF2B5EF4-FFF2-40B4-BE49-F238E27FC236}">
                <a16:creationId xmlns:a16="http://schemas.microsoft.com/office/drawing/2014/main" id="{50652D05-DD41-421F-86D5-3223E77C137D}"/>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OO</a:t>
            </a:r>
          </a:p>
          <a:p>
            <a:pPr algn="ctr"/>
            <a:r>
              <a:rPr lang="en-US" altLang="ja-JP" sz="1200" dirty="0">
                <a:solidFill>
                  <a:schemeClr val="tx2"/>
                </a:solidFill>
                <a:ea typeface="ＭＳ Ｐゴシック" pitchFamily="50" charset="-128"/>
              </a:rPr>
              <a:t>Elizabeth G.</a:t>
            </a:r>
          </a:p>
        </p:txBody>
      </p:sp>
      <p:sp>
        <p:nvSpPr>
          <p:cNvPr id="44" name="Rectangle 43">
            <a:extLst>
              <a:ext uri="{FF2B5EF4-FFF2-40B4-BE49-F238E27FC236}">
                <a16:creationId xmlns:a16="http://schemas.microsoft.com/office/drawing/2014/main" id="{B06C05C9-3D0C-418F-B096-A13E9EFA7600}"/>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Financial Officer</a:t>
            </a:r>
          </a:p>
          <a:p>
            <a:pPr algn="ctr"/>
            <a:r>
              <a:rPr lang="en-US" altLang="ja-JP" sz="1200" dirty="0">
                <a:ea typeface="ＭＳ Ｐゴシック" pitchFamily="50" charset="-128"/>
              </a:rPr>
              <a:t>Pauline Newman</a:t>
            </a:r>
          </a:p>
        </p:txBody>
      </p:sp>
      <p:sp>
        <p:nvSpPr>
          <p:cNvPr id="45" name="Rectangle 44">
            <a:extLst>
              <a:ext uri="{FF2B5EF4-FFF2-40B4-BE49-F238E27FC236}">
                <a16:creationId xmlns:a16="http://schemas.microsoft.com/office/drawing/2014/main" id="{31A2B00C-9D3D-42EE-8318-8B878C0FF919}"/>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Technology Officer</a:t>
            </a:r>
          </a:p>
          <a:p>
            <a:pPr algn="ctr"/>
            <a:r>
              <a:rPr lang="en-US" altLang="ja-JP" sz="1200" dirty="0">
                <a:ea typeface="ＭＳ Ｐゴシック" pitchFamily="50" charset="-128"/>
              </a:rPr>
              <a:t>Christopher Han</a:t>
            </a:r>
          </a:p>
        </p:txBody>
      </p:sp>
      <p:sp>
        <p:nvSpPr>
          <p:cNvPr id="46" name="Rectangle 45">
            <a:extLst>
              <a:ext uri="{FF2B5EF4-FFF2-40B4-BE49-F238E27FC236}">
                <a16:creationId xmlns:a16="http://schemas.microsoft.com/office/drawing/2014/main" id="{5FBAC0C6-B63A-4E26-B7CA-C1BD2C1A592D}"/>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Operating Officer</a:t>
            </a:r>
          </a:p>
          <a:p>
            <a:pPr algn="ctr"/>
            <a:r>
              <a:rPr lang="en-US" altLang="ja-JP" sz="1200" dirty="0">
                <a:ea typeface="ＭＳ Ｐゴシック" pitchFamily="50" charset="-128"/>
              </a:rPr>
              <a:t>Raphael Domino</a:t>
            </a:r>
          </a:p>
        </p:txBody>
      </p:sp>
      <p:sp>
        <p:nvSpPr>
          <p:cNvPr id="47" name="Rectangle 46">
            <a:extLst>
              <a:ext uri="{FF2B5EF4-FFF2-40B4-BE49-F238E27FC236}">
                <a16:creationId xmlns:a16="http://schemas.microsoft.com/office/drawing/2014/main" id="{B4901C05-8B9B-4F34-B66C-AF677BB84A82}"/>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Chief Marketing Officer</a:t>
            </a:r>
          </a:p>
          <a:p>
            <a:pPr algn="ctr"/>
            <a:r>
              <a:rPr lang="en-US" altLang="ja-JP" sz="1200" dirty="0">
                <a:solidFill>
                  <a:schemeClr val="tx2"/>
                </a:solidFill>
                <a:ea typeface="ＭＳ Ｐゴシック" pitchFamily="50" charset="-128"/>
              </a:rPr>
              <a:t>Caty Spheran</a:t>
            </a:r>
          </a:p>
        </p:txBody>
      </p:sp>
      <p:sp>
        <p:nvSpPr>
          <p:cNvPr id="48" name="Rectangle 47">
            <a:extLst>
              <a:ext uri="{FF2B5EF4-FFF2-40B4-BE49-F238E27FC236}">
                <a16:creationId xmlns:a16="http://schemas.microsoft.com/office/drawing/2014/main" id="{0372A19D-99DF-4973-AF52-F5499913F87D}"/>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MO</a:t>
            </a:r>
          </a:p>
          <a:p>
            <a:pPr algn="ctr"/>
            <a:r>
              <a:rPr lang="en-US" altLang="ja-JP" sz="1200" dirty="0">
                <a:solidFill>
                  <a:schemeClr val="tx2"/>
                </a:solidFill>
                <a:ea typeface="ＭＳ Ｐゴシック" pitchFamily="50" charset="-128"/>
              </a:rPr>
              <a:t>Sebastian K.</a:t>
            </a:r>
          </a:p>
        </p:txBody>
      </p:sp>
      <p:sp>
        <p:nvSpPr>
          <p:cNvPr id="49" name="Rectangle 48">
            <a:extLst>
              <a:ext uri="{FF2B5EF4-FFF2-40B4-BE49-F238E27FC236}">
                <a16:creationId xmlns:a16="http://schemas.microsoft.com/office/drawing/2014/main" id="{A7A1375C-187F-43C6-B476-6C96E3DCBF03}"/>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MO</a:t>
            </a:r>
          </a:p>
          <a:p>
            <a:pPr algn="ctr"/>
            <a:r>
              <a:rPr lang="en-US" altLang="ja-JP" sz="1200" dirty="0">
                <a:solidFill>
                  <a:schemeClr val="tx2"/>
                </a:solidFill>
                <a:ea typeface="ＭＳ Ｐゴシック" pitchFamily="50" charset="-128"/>
              </a:rPr>
              <a:t>Marc P.</a:t>
            </a:r>
          </a:p>
        </p:txBody>
      </p:sp>
      <p:cxnSp>
        <p:nvCxnSpPr>
          <p:cNvPr id="50" name="Connector: Elbow 49">
            <a:extLst>
              <a:ext uri="{FF2B5EF4-FFF2-40B4-BE49-F238E27FC236}">
                <a16:creationId xmlns:a16="http://schemas.microsoft.com/office/drawing/2014/main" id="{66A7E89A-6C78-497A-8EA0-E9DBC1E32214}"/>
              </a:ext>
            </a:extLst>
          </p:cNvPr>
          <p:cNvCxnSpPr>
            <a:cxnSpLocks/>
            <a:stCxn id="27" idx="2"/>
            <a:endCxn id="46" idx="0"/>
          </p:cNvCxnSpPr>
          <p:nvPr/>
        </p:nvCxnSpPr>
        <p:spPr>
          <a:xfrm rot="16200000" flipH="1">
            <a:off x="6690583" y="2219096"/>
            <a:ext cx="406398" cy="142790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9EF1D196-E15C-4234-92D6-3EC70329E67F}"/>
              </a:ext>
            </a:extLst>
          </p:cNvPr>
          <p:cNvCxnSpPr>
            <a:cxnSpLocks/>
            <a:stCxn id="27" idx="2"/>
            <a:endCxn id="45" idx="0"/>
          </p:cNvCxnSpPr>
          <p:nvPr/>
        </p:nvCxnSpPr>
        <p:spPr>
          <a:xfrm rot="5400000">
            <a:off x="5278938" y="2235354"/>
            <a:ext cx="406398" cy="139538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A031C9BB-FDAC-4BD6-9ED2-295C26AA47EC}"/>
              </a:ext>
            </a:extLst>
          </p:cNvPr>
          <p:cNvCxnSpPr>
            <a:cxnSpLocks/>
            <a:stCxn id="44" idx="2"/>
            <a:endCxn id="30" idx="0"/>
          </p:cNvCxnSpPr>
          <p:nvPr/>
        </p:nvCxnSpPr>
        <p:spPr>
          <a:xfrm rot="5400000">
            <a:off x="1329242"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27C22E07-206E-41C7-A192-06C98FBA89EF}"/>
              </a:ext>
            </a:extLst>
          </p:cNvPr>
          <p:cNvCxnSpPr>
            <a:cxnSpLocks/>
            <a:stCxn id="44" idx="2"/>
            <a:endCxn id="33" idx="0"/>
          </p:cNvCxnSpPr>
          <p:nvPr/>
        </p:nvCxnSpPr>
        <p:spPr>
          <a:xfrm rot="16200000" flipH="1">
            <a:off x="2035064"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83CC2114-22F5-43F4-BEC1-17347E0903F8}"/>
              </a:ext>
            </a:extLst>
          </p:cNvPr>
          <p:cNvCxnSpPr>
            <a:cxnSpLocks/>
            <a:stCxn id="45" idx="2"/>
            <a:endCxn id="34" idx="0"/>
          </p:cNvCxnSpPr>
          <p:nvPr/>
        </p:nvCxnSpPr>
        <p:spPr>
          <a:xfrm rot="5400000">
            <a:off x="4152534"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17D794F-C29A-4862-BF8B-0F9F6224D4C3}"/>
              </a:ext>
            </a:extLst>
          </p:cNvPr>
          <p:cNvCxnSpPr>
            <a:cxnSpLocks/>
            <a:stCxn id="45" idx="2"/>
            <a:endCxn id="36" idx="0"/>
          </p:cNvCxnSpPr>
          <p:nvPr/>
        </p:nvCxnSpPr>
        <p:spPr>
          <a:xfrm rot="16200000" flipH="1">
            <a:off x="4858356"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F7D486C1-F62C-41D4-AAB3-4DE5DF744A46}"/>
              </a:ext>
            </a:extLst>
          </p:cNvPr>
          <p:cNvCxnSpPr>
            <a:cxnSpLocks/>
            <a:stCxn id="46" idx="2"/>
            <a:endCxn id="35" idx="0"/>
          </p:cNvCxnSpPr>
          <p:nvPr/>
        </p:nvCxnSpPr>
        <p:spPr>
          <a:xfrm rot="5400000">
            <a:off x="6975826"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8913407C-4450-462D-8A91-29B44BEEF7E6}"/>
              </a:ext>
            </a:extLst>
          </p:cNvPr>
          <p:cNvCxnSpPr>
            <a:cxnSpLocks/>
            <a:stCxn id="46" idx="2"/>
            <a:endCxn id="37" idx="0"/>
          </p:cNvCxnSpPr>
          <p:nvPr/>
        </p:nvCxnSpPr>
        <p:spPr>
          <a:xfrm rot="16200000" flipH="1">
            <a:off x="7681648"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B1C50DB5-1F2C-4F7A-A06A-FED79114F52A}"/>
              </a:ext>
            </a:extLst>
          </p:cNvPr>
          <p:cNvCxnSpPr>
            <a:cxnSpLocks/>
            <a:stCxn id="47" idx="2"/>
            <a:endCxn id="48" idx="0"/>
          </p:cNvCxnSpPr>
          <p:nvPr/>
        </p:nvCxnSpPr>
        <p:spPr>
          <a:xfrm rot="5400000">
            <a:off x="9799117" y="4373191"/>
            <a:ext cx="557995" cy="70582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49F184FC-B3FC-454D-8B6D-0A3E74713535}"/>
              </a:ext>
            </a:extLst>
          </p:cNvPr>
          <p:cNvCxnSpPr>
            <a:cxnSpLocks/>
            <a:stCxn id="47" idx="2"/>
            <a:endCxn id="49" idx="0"/>
          </p:cNvCxnSpPr>
          <p:nvPr/>
        </p:nvCxnSpPr>
        <p:spPr>
          <a:xfrm rot="16200000" flipH="1">
            <a:off x="10504939"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273515E7-D8C5-FF86-0FA6-26E3FBBD1F0C}"/>
              </a:ext>
            </a:extLst>
          </p:cNvPr>
          <p:cNvSpPr/>
          <p:nvPr/>
        </p:nvSpPr>
        <p:spPr>
          <a:xfrm>
            <a:off x="10191867" y="237531"/>
            <a:ext cx="1728000"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t>Additional Template</a:t>
            </a:r>
          </a:p>
        </p:txBody>
      </p:sp>
    </p:spTree>
    <p:extLst>
      <p:ext uri="{BB962C8B-B14F-4D97-AF65-F5344CB8AC3E}">
        <p14:creationId xmlns:p14="http://schemas.microsoft.com/office/powerpoint/2010/main" val="3176048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4699813" y="1773208"/>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25" name="Rectangle 24">
            <a:extLst>
              <a:ext uri="{FF2B5EF4-FFF2-40B4-BE49-F238E27FC236}">
                <a16:creationId xmlns:a16="http://schemas.microsoft.com/office/drawing/2014/main" id="{D0A544BA-0BCD-4295-93F7-75751236C57F}"/>
              </a:ext>
            </a:extLst>
          </p:cNvPr>
          <p:cNvSpPr>
            <a:spLocks noChangeArrowheads="1"/>
          </p:cNvSpPr>
          <p:nvPr/>
        </p:nvSpPr>
        <p:spPr bwMode="auto">
          <a:xfrm>
            <a:off x="4699813" y="2294133"/>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sp>
        <p:nvSpPr>
          <p:cNvPr id="29" name="Rectangle 28">
            <a:extLst>
              <a:ext uri="{FF2B5EF4-FFF2-40B4-BE49-F238E27FC236}">
                <a16:creationId xmlns:a16="http://schemas.microsoft.com/office/drawing/2014/main" id="{EFD8BEFC-E510-43E6-92D0-56ACD3410DA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0" name="Rectangle 29">
            <a:extLst>
              <a:ext uri="{FF2B5EF4-FFF2-40B4-BE49-F238E27FC236}">
                <a16:creationId xmlns:a16="http://schemas.microsoft.com/office/drawing/2014/main" id="{79B9EF58-4F3C-47F8-A248-47DACD0BCFF0}"/>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sp>
        <p:nvSpPr>
          <p:cNvPr id="33" name="Rectangle 32">
            <a:extLst>
              <a:ext uri="{FF2B5EF4-FFF2-40B4-BE49-F238E27FC236}">
                <a16:creationId xmlns:a16="http://schemas.microsoft.com/office/drawing/2014/main" id="{1C279F7C-44E3-4C0E-BAEF-8143D53424EE}"/>
              </a:ext>
            </a:extLst>
          </p:cNvPr>
          <p:cNvSpPr>
            <a:spLocks noChangeArrowheads="1"/>
          </p:cNvSpPr>
          <p:nvPr/>
        </p:nvSpPr>
        <p:spPr bwMode="auto">
          <a:xfrm>
            <a:off x="7999451"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4" name="Rectangle 33">
            <a:extLst>
              <a:ext uri="{FF2B5EF4-FFF2-40B4-BE49-F238E27FC236}">
                <a16:creationId xmlns:a16="http://schemas.microsoft.com/office/drawing/2014/main" id="{D05930B1-E2D7-4D52-B743-03D97C98BDD3}"/>
              </a:ext>
            </a:extLst>
          </p:cNvPr>
          <p:cNvSpPr>
            <a:spLocks noChangeArrowheads="1"/>
          </p:cNvSpPr>
          <p:nvPr/>
        </p:nvSpPr>
        <p:spPr bwMode="auto">
          <a:xfrm>
            <a:off x="7999451"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sp>
        <p:nvSpPr>
          <p:cNvPr id="37" name="Rectangle 36">
            <a:extLst>
              <a:ext uri="{FF2B5EF4-FFF2-40B4-BE49-F238E27FC236}">
                <a16:creationId xmlns:a16="http://schemas.microsoft.com/office/drawing/2014/main" id="{79BF323B-8D35-4FE9-8361-5E4AEF2DD060}"/>
              </a:ext>
            </a:extLst>
          </p:cNvPr>
          <p:cNvSpPr>
            <a:spLocks noChangeArrowheads="1"/>
          </p:cNvSpPr>
          <p:nvPr/>
        </p:nvSpPr>
        <p:spPr bwMode="auto">
          <a:xfrm>
            <a:off x="4699813"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8" name="Rectangle 37">
            <a:extLst>
              <a:ext uri="{FF2B5EF4-FFF2-40B4-BE49-F238E27FC236}">
                <a16:creationId xmlns:a16="http://schemas.microsoft.com/office/drawing/2014/main" id="{A1C76B22-ED33-44C5-B125-BF356530D887}"/>
              </a:ext>
            </a:extLst>
          </p:cNvPr>
          <p:cNvSpPr>
            <a:spLocks noChangeArrowheads="1"/>
          </p:cNvSpPr>
          <p:nvPr/>
        </p:nvSpPr>
        <p:spPr bwMode="auto">
          <a:xfrm>
            <a:off x="4699813"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cxnSp>
        <p:nvCxnSpPr>
          <p:cNvPr id="46" name="Straight Connector 45">
            <a:extLst>
              <a:ext uri="{FF2B5EF4-FFF2-40B4-BE49-F238E27FC236}">
                <a16:creationId xmlns:a16="http://schemas.microsoft.com/office/drawing/2014/main" id="{9D65FE38-9A03-496E-9E61-A88F356013A6}"/>
              </a:ext>
            </a:extLst>
          </p:cNvPr>
          <p:cNvCxnSpPr>
            <a:cxnSpLocks/>
            <a:stCxn id="29" idx="0"/>
            <a:endCxn id="25" idx="2"/>
          </p:cNvCxnSpPr>
          <p:nvPr/>
        </p:nvCxnSpPr>
        <p:spPr>
          <a:xfrm rot="5400000" flipH="1" flipV="1">
            <a:off x="4171661" y="2394764"/>
            <a:ext cx="549040" cy="32996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9" name="Straight Connector 45">
            <a:extLst>
              <a:ext uri="{FF2B5EF4-FFF2-40B4-BE49-F238E27FC236}">
                <a16:creationId xmlns:a16="http://schemas.microsoft.com/office/drawing/2014/main" id="{ED865511-3319-4CA3-9D29-37E29DA58263}"/>
              </a:ext>
            </a:extLst>
          </p:cNvPr>
          <p:cNvCxnSpPr>
            <a:cxnSpLocks/>
            <a:stCxn id="33" idx="0"/>
            <a:endCxn id="25" idx="2"/>
          </p:cNvCxnSpPr>
          <p:nvPr/>
        </p:nvCxnSpPr>
        <p:spPr>
          <a:xfrm rot="16200000" flipV="1">
            <a:off x="7471299" y="2394764"/>
            <a:ext cx="549040" cy="32996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45">
            <a:extLst>
              <a:ext uri="{FF2B5EF4-FFF2-40B4-BE49-F238E27FC236}">
                <a16:creationId xmlns:a16="http://schemas.microsoft.com/office/drawing/2014/main" id="{46943B8C-5543-44FD-A471-8118900B48D6}"/>
              </a:ext>
            </a:extLst>
          </p:cNvPr>
          <p:cNvCxnSpPr>
            <a:cxnSpLocks/>
            <a:stCxn id="37" idx="0"/>
            <a:endCxn id="25" idx="2"/>
          </p:cNvCxnSpPr>
          <p:nvPr/>
        </p:nvCxnSpPr>
        <p:spPr>
          <a:xfrm flipV="1">
            <a:off x="6096000" y="3770063"/>
            <a:ext cx="0" cy="549040"/>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C21C37B8-7C8C-C4BE-86D3-948949918C22}"/>
              </a:ext>
            </a:extLst>
          </p:cNvPr>
          <p:cNvSpPr/>
          <p:nvPr/>
        </p:nvSpPr>
        <p:spPr>
          <a:xfrm>
            <a:off x="10191867" y="237531"/>
            <a:ext cx="1728000"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t>Additional Template</a:t>
            </a:r>
          </a:p>
        </p:txBody>
      </p:sp>
    </p:spTree>
    <p:extLst>
      <p:ext uri="{BB962C8B-B14F-4D97-AF65-F5344CB8AC3E}">
        <p14:creationId xmlns:p14="http://schemas.microsoft.com/office/powerpoint/2010/main" val="37178274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2</a:t>
            </a:fld>
            <a:endParaRPr lang="en-US" sz="1000" dirty="0">
              <a:solidFill>
                <a:srgbClr val="ADAFBB"/>
              </a:solidFill>
            </a:endParaRPr>
          </a:p>
        </p:txBody>
      </p:sp>
      <p:cxnSp>
        <p:nvCxnSpPr>
          <p:cNvPr id="89" name="Straight Connector 88">
            <a:extLst>
              <a:ext uri="{FF2B5EF4-FFF2-40B4-BE49-F238E27FC236}">
                <a16:creationId xmlns:a16="http://schemas.microsoft.com/office/drawing/2014/main" id="{28E78310-6E23-4113-841E-B6602481DA3B}"/>
              </a:ext>
            </a:extLst>
          </p:cNvPr>
          <p:cNvCxnSpPr>
            <a:cxnSpLocks/>
          </p:cNvCxnSpPr>
          <p:nvPr/>
        </p:nvCxnSpPr>
        <p:spPr>
          <a:xfrm>
            <a:off x="1763520" y="3417233"/>
            <a:ext cx="8632508"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B59B5BF-5720-4CC4-8FDC-655034263BAC}"/>
              </a:ext>
            </a:extLst>
          </p:cNvPr>
          <p:cNvCxnSpPr>
            <a:cxnSpLocks/>
          </p:cNvCxnSpPr>
          <p:nvPr/>
        </p:nvCxnSpPr>
        <p:spPr>
          <a:xfrm rot="5400000">
            <a:off x="10271871"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A697A4B-EBDC-44B5-8BB7-3E824D758B11}"/>
              </a:ext>
            </a:extLst>
          </p:cNvPr>
          <p:cNvCxnSpPr>
            <a:cxnSpLocks/>
          </p:cNvCxnSpPr>
          <p:nvPr/>
        </p:nvCxnSpPr>
        <p:spPr>
          <a:xfrm rot="5400000">
            <a:off x="7405186"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D48E907-D08B-4418-B102-2ED9F06225E5}"/>
              </a:ext>
            </a:extLst>
          </p:cNvPr>
          <p:cNvCxnSpPr>
            <a:cxnSpLocks/>
          </p:cNvCxnSpPr>
          <p:nvPr/>
        </p:nvCxnSpPr>
        <p:spPr>
          <a:xfrm rot="5400000">
            <a:off x="4507627"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7A068A8-8F68-4BD1-8E2D-DAAC648361DF}"/>
              </a:ext>
            </a:extLst>
          </p:cNvPr>
          <p:cNvCxnSpPr>
            <a:cxnSpLocks/>
          </p:cNvCxnSpPr>
          <p:nvPr/>
        </p:nvCxnSpPr>
        <p:spPr>
          <a:xfrm rot="5400000">
            <a:off x="1633280"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99E647-7D89-4EA2-B7B4-FF10E76FB067}"/>
              </a:ext>
            </a:extLst>
          </p:cNvPr>
          <p:cNvCxnSpPr/>
          <p:nvPr/>
        </p:nvCxnSpPr>
        <p:spPr>
          <a:xfrm rot="5400000">
            <a:off x="5683067" y="2944798"/>
            <a:ext cx="944863"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0CA16D6-0E9E-4DFA-8022-D45FB8CE7CB1}"/>
              </a:ext>
            </a:extLst>
          </p:cNvPr>
          <p:cNvCxnSpPr/>
          <p:nvPr/>
        </p:nvCxnSpPr>
        <p:spPr>
          <a:xfrm>
            <a:off x="4716746" y="2854711"/>
            <a:ext cx="1438751"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5FCE158-AEE3-4D16-80AA-270265D03600}"/>
              </a:ext>
            </a:extLst>
          </p:cNvPr>
          <p:cNvCxnSpPr/>
          <p:nvPr/>
        </p:nvCxnSpPr>
        <p:spPr>
          <a:xfrm rot="5400000">
            <a:off x="-82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925227B-554C-4F82-A9F8-1C8E524DA4DE}"/>
              </a:ext>
            </a:extLst>
          </p:cNvPr>
          <p:cNvCxnSpPr/>
          <p:nvPr/>
        </p:nvCxnSpPr>
        <p:spPr>
          <a:xfrm>
            <a:off x="930558"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56D4B96-07D9-4EFB-BAAA-8241A3B5121F}"/>
              </a:ext>
            </a:extLst>
          </p:cNvPr>
          <p:cNvCxnSpPr/>
          <p:nvPr/>
        </p:nvCxnSpPr>
        <p:spPr>
          <a:xfrm>
            <a:off x="930558"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B7DD70C-B4D1-4E74-AEA2-BC6ACD869CCC}"/>
              </a:ext>
            </a:extLst>
          </p:cNvPr>
          <p:cNvCxnSpPr/>
          <p:nvPr/>
        </p:nvCxnSpPr>
        <p:spPr>
          <a:xfrm>
            <a:off x="930558"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7549329-0E70-4677-BF47-09FF7925C5CE}"/>
              </a:ext>
            </a:extLst>
          </p:cNvPr>
          <p:cNvCxnSpPr/>
          <p:nvPr/>
        </p:nvCxnSpPr>
        <p:spPr>
          <a:xfrm>
            <a:off x="930558"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795103C-E5F2-4F14-8DE5-8E98BFB04682}"/>
              </a:ext>
            </a:extLst>
          </p:cNvPr>
          <p:cNvCxnSpPr/>
          <p:nvPr/>
        </p:nvCxnSpPr>
        <p:spPr>
          <a:xfrm rot="5400000">
            <a:off x="289988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10DC466-1384-47FB-8DB0-DDADA1A2CFC5}"/>
              </a:ext>
            </a:extLst>
          </p:cNvPr>
          <p:cNvCxnSpPr/>
          <p:nvPr/>
        </p:nvCxnSpPr>
        <p:spPr>
          <a:xfrm>
            <a:off x="3831274"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22D48E4-02A8-4C79-B483-8626B59CC079}"/>
              </a:ext>
            </a:extLst>
          </p:cNvPr>
          <p:cNvCxnSpPr/>
          <p:nvPr/>
        </p:nvCxnSpPr>
        <p:spPr>
          <a:xfrm>
            <a:off x="3831274"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CB3E3A3-CE5A-4405-86A0-9A5560706B55}"/>
              </a:ext>
            </a:extLst>
          </p:cNvPr>
          <p:cNvCxnSpPr/>
          <p:nvPr/>
        </p:nvCxnSpPr>
        <p:spPr>
          <a:xfrm>
            <a:off x="3831274"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AB2793-1811-406A-BE24-B58A0A49F875}"/>
              </a:ext>
            </a:extLst>
          </p:cNvPr>
          <p:cNvCxnSpPr/>
          <p:nvPr/>
        </p:nvCxnSpPr>
        <p:spPr>
          <a:xfrm>
            <a:off x="3831274"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AF8F772-62B7-4E59-A60B-B3C9B4125DA7}"/>
              </a:ext>
            </a:extLst>
          </p:cNvPr>
          <p:cNvCxnSpPr/>
          <p:nvPr/>
        </p:nvCxnSpPr>
        <p:spPr>
          <a:xfrm rot="5400000">
            <a:off x="5788209"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3845C9-0CE6-4109-BC13-6535E9C6956F}"/>
              </a:ext>
            </a:extLst>
          </p:cNvPr>
          <p:cNvCxnSpPr/>
          <p:nvPr/>
        </p:nvCxnSpPr>
        <p:spPr>
          <a:xfrm>
            <a:off x="6719595"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DB19594-3966-442A-980D-98E062D2A17D}"/>
              </a:ext>
            </a:extLst>
          </p:cNvPr>
          <p:cNvCxnSpPr/>
          <p:nvPr/>
        </p:nvCxnSpPr>
        <p:spPr>
          <a:xfrm>
            <a:off x="6719595"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BC7D946-2B24-4402-B040-C80F1C145FE1}"/>
              </a:ext>
            </a:extLst>
          </p:cNvPr>
          <p:cNvCxnSpPr/>
          <p:nvPr/>
        </p:nvCxnSpPr>
        <p:spPr>
          <a:xfrm>
            <a:off x="6719595"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BF9A0A1-96A1-4F1D-8FE9-8B7EF8601EFC}"/>
              </a:ext>
            </a:extLst>
          </p:cNvPr>
          <p:cNvCxnSpPr/>
          <p:nvPr/>
        </p:nvCxnSpPr>
        <p:spPr>
          <a:xfrm>
            <a:off x="6719595"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E726EA-CC10-48CD-81D6-6BAC8DC43FE2}"/>
              </a:ext>
            </a:extLst>
          </p:cNvPr>
          <p:cNvCxnSpPr/>
          <p:nvPr/>
        </p:nvCxnSpPr>
        <p:spPr>
          <a:xfrm rot="5400000">
            <a:off x="8654894"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3B389F-54CF-4036-BFF4-43ED2AA8FCE6}"/>
              </a:ext>
            </a:extLst>
          </p:cNvPr>
          <p:cNvCxnSpPr/>
          <p:nvPr/>
        </p:nvCxnSpPr>
        <p:spPr>
          <a:xfrm>
            <a:off x="9586280"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BC26C80-D6DE-4A3F-9F0C-F945D015F215}"/>
              </a:ext>
            </a:extLst>
          </p:cNvPr>
          <p:cNvCxnSpPr/>
          <p:nvPr/>
        </p:nvCxnSpPr>
        <p:spPr>
          <a:xfrm>
            <a:off x="9586280"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3A928DC-253B-4B5E-A4F6-B4C39342A9E8}"/>
              </a:ext>
            </a:extLst>
          </p:cNvPr>
          <p:cNvCxnSpPr/>
          <p:nvPr/>
        </p:nvCxnSpPr>
        <p:spPr>
          <a:xfrm>
            <a:off x="9586280"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F28E800-8067-40BE-82CF-21C23A200A3D}"/>
              </a:ext>
            </a:extLst>
          </p:cNvPr>
          <p:cNvCxnSpPr/>
          <p:nvPr/>
        </p:nvCxnSpPr>
        <p:spPr>
          <a:xfrm>
            <a:off x="9586280"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3" name="Rounded Rectangle 2">
            <a:extLst>
              <a:ext uri="{FF2B5EF4-FFF2-40B4-BE49-F238E27FC236}">
                <a16:creationId xmlns:a16="http://schemas.microsoft.com/office/drawing/2014/main" id="{6BE5583E-F71E-46FA-ABDD-011B2155EA4F}"/>
              </a:ext>
            </a:extLst>
          </p:cNvPr>
          <p:cNvSpPr/>
          <p:nvPr/>
        </p:nvSpPr>
        <p:spPr>
          <a:xfrm>
            <a:off x="5158693" y="1762124"/>
            <a:ext cx="1993610" cy="721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cs typeface="Arial" pitchFamily="34" charset="0"/>
              </a:rPr>
              <a:t>Sample Text</a:t>
            </a:r>
          </a:p>
        </p:txBody>
      </p:sp>
      <p:sp>
        <p:nvSpPr>
          <p:cNvPr id="24" name="Rounded Rectangle 5">
            <a:extLst>
              <a:ext uri="{FF2B5EF4-FFF2-40B4-BE49-F238E27FC236}">
                <a16:creationId xmlns:a16="http://schemas.microsoft.com/office/drawing/2014/main" id="{85C86483-3B1E-4526-B27F-197EB10A3111}"/>
              </a:ext>
            </a:extLst>
          </p:cNvPr>
          <p:cNvSpPr/>
          <p:nvPr/>
        </p:nvSpPr>
        <p:spPr>
          <a:xfrm>
            <a:off x="779111"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25" name="Rounded Rectangle 6">
            <a:extLst>
              <a:ext uri="{FF2B5EF4-FFF2-40B4-BE49-F238E27FC236}">
                <a16:creationId xmlns:a16="http://schemas.microsoft.com/office/drawing/2014/main" id="{C79F80EC-B958-4F98-B0D2-8508EC4DFC70}"/>
              </a:ext>
            </a:extLst>
          </p:cNvPr>
          <p:cNvSpPr/>
          <p:nvPr/>
        </p:nvSpPr>
        <p:spPr>
          <a:xfrm>
            <a:off x="3656614"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26" name="Rounded Rectangle 7">
            <a:extLst>
              <a:ext uri="{FF2B5EF4-FFF2-40B4-BE49-F238E27FC236}">
                <a16:creationId xmlns:a16="http://schemas.microsoft.com/office/drawing/2014/main" id="{E6F1EBBF-9CF6-4B8E-9D5B-3A15D11D4CA3}"/>
              </a:ext>
            </a:extLst>
          </p:cNvPr>
          <p:cNvSpPr/>
          <p:nvPr/>
        </p:nvSpPr>
        <p:spPr>
          <a:xfrm>
            <a:off x="6534117"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27" name="Rounded Rectangle 8">
            <a:extLst>
              <a:ext uri="{FF2B5EF4-FFF2-40B4-BE49-F238E27FC236}">
                <a16:creationId xmlns:a16="http://schemas.microsoft.com/office/drawing/2014/main" id="{04F93201-DEF5-41DA-B18E-9F910190D709}"/>
              </a:ext>
            </a:extLst>
          </p:cNvPr>
          <p:cNvSpPr/>
          <p:nvPr/>
        </p:nvSpPr>
        <p:spPr>
          <a:xfrm>
            <a:off x="9411620"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28" name="Rounded Rectangle 9">
            <a:extLst>
              <a:ext uri="{FF2B5EF4-FFF2-40B4-BE49-F238E27FC236}">
                <a16:creationId xmlns:a16="http://schemas.microsoft.com/office/drawing/2014/main" id="{7DA327B2-8E42-474E-AF05-7FE46459CF87}"/>
              </a:ext>
            </a:extLst>
          </p:cNvPr>
          <p:cNvSpPr/>
          <p:nvPr/>
        </p:nvSpPr>
        <p:spPr>
          <a:xfrm>
            <a:off x="1082006"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29" name="Rounded Rectangle 13">
            <a:extLst>
              <a:ext uri="{FF2B5EF4-FFF2-40B4-BE49-F238E27FC236}">
                <a16:creationId xmlns:a16="http://schemas.microsoft.com/office/drawing/2014/main" id="{2A4D7178-0629-4570-8F2A-7B5C10DD98F8}"/>
              </a:ext>
            </a:extLst>
          </p:cNvPr>
          <p:cNvSpPr/>
          <p:nvPr/>
        </p:nvSpPr>
        <p:spPr>
          <a:xfrm>
            <a:off x="1082006"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30" name="Rounded Rectangle 14">
            <a:extLst>
              <a:ext uri="{FF2B5EF4-FFF2-40B4-BE49-F238E27FC236}">
                <a16:creationId xmlns:a16="http://schemas.microsoft.com/office/drawing/2014/main" id="{EBF66EBA-C8AC-48AB-83F1-8E2F98829677}"/>
              </a:ext>
            </a:extLst>
          </p:cNvPr>
          <p:cNvSpPr/>
          <p:nvPr/>
        </p:nvSpPr>
        <p:spPr>
          <a:xfrm>
            <a:off x="1082006"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31" name="Rounded Rectangle 15">
            <a:extLst>
              <a:ext uri="{FF2B5EF4-FFF2-40B4-BE49-F238E27FC236}">
                <a16:creationId xmlns:a16="http://schemas.microsoft.com/office/drawing/2014/main" id="{E020AD10-9728-48CD-A81E-9469D91BB815}"/>
              </a:ext>
            </a:extLst>
          </p:cNvPr>
          <p:cNvSpPr/>
          <p:nvPr/>
        </p:nvSpPr>
        <p:spPr>
          <a:xfrm>
            <a:off x="1082006"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34" name="Rounded Rectangle 16">
            <a:extLst>
              <a:ext uri="{FF2B5EF4-FFF2-40B4-BE49-F238E27FC236}">
                <a16:creationId xmlns:a16="http://schemas.microsoft.com/office/drawing/2014/main" id="{4980ABC7-22FD-4F26-AA7E-B9185D432D2A}"/>
              </a:ext>
            </a:extLst>
          </p:cNvPr>
          <p:cNvSpPr/>
          <p:nvPr/>
        </p:nvSpPr>
        <p:spPr>
          <a:xfrm>
            <a:off x="3981144"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35" name="Rounded Rectangle 17">
            <a:extLst>
              <a:ext uri="{FF2B5EF4-FFF2-40B4-BE49-F238E27FC236}">
                <a16:creationId xmlns:a16="http://schemas.microsoft.com/office/drawing/2014/main" id="{826157B1-B688-451D-B9C7-EE71F434B633}"/>
              </a:ext>
            </a:extLst>
          </p:cNvPr>
          <p:cNvSpPr/>
          <p:nvPr/>
        </p:nvSpPr>
        <p:spPr>
          <a:xfrm>
            <a:off x="3981144"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38" name="Rounded Rectangle 18">
            <a:extLst>
              <a:ext uri="{FF2B5EF4-FFF2-40B4-BE49-F238E27FC236}">
                <a16:creationId xmlns:a16="http://schemas.microsoft.com/office/drawing/2014/main" id="{576509D1-7B05-46C7-B1D9-B71F038011BA}"/>
              </a:ext>
            </a:extLst>
          </p:cNvPr>
          <p:cNvSpPr/>
          <p:nvPr/>
        </p:nvSpPr>
        <p:spPr>
          <a:xfrm>
            <a:off x="3981144"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40" name="Rounded Rectangle 19">
            <a:extLst>
              <a:ext uri="{FF2B5EF4-FFF2-40B4-BE49-F238E27FC236}">
                <a16:creationId xmlns:a16="http://schemas.microsoft.com/office/drawing/2014/main" id="{4A566E1C-ED57-4362-A4C2-B6238C74D328}"/>
              </a:ext>
            </a:extLst>
          </p:cNvPr>
          <p:cNvSpPr/>
          <p:nvPr/>
        </p:nvSpPr>
        <p:spPr>
          <a:xfrm>
            <a:off x="3981144"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41" name="Rounded Rectangle 20">
            <a:extLst>
              <a:ext uri="{FF2B5EF4-FFF2-40B4-BE49-F238E27FC236}">
                <a16:creationId xmlns:a16="http://schemas.microsoft.com/office/drawing/2014/main" id="{82341D3F-F809-4412-973D-556BEB20BA11}"/>
              </a:ext>
            </a:extLst>
          </p:cNvPr>
          <p:cNvSpPr/>
          <p:nvPr/>
        </p:nvSpPr>
        <p:spPr>
          <a:xfrm>
            <a:off x="6869465"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47" name="Rounded Rectangle 21">
            <a:extLst>
              <a:ext uri="{FF2B5EF4-FFF2-40B4-BE49-F238E27FC236}">
                <a16:creationId xmlns:a16="http://schemas.microsoft.com/office/drawing/2014/main" id="{FBE1A1A4-1756-4BDF-B864-7F9CE3B89498}"/>
              </a:ext>
            </a:extLst>
          </p:cNvPr>
          <p:cNvSpPr/>
          <p:nvPr/>
        </p:nvSpPr>
        <p:spPr>
          <a:xfrm>
            <a:off x="6869465"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48" name="Rounded Rectangle 22">
            <a:extLst>
              <a:ext uri="{FF2B5EF4-FFF2-40B4-BE49-F238E27FC236}">
                <a16:creationId xmlns:a16="http://schemas.microsoft.com/office/drawing/2014/main" id="{004187E3-DF18-466A-89C1-67196579FDA0}"/>
              </a:ext>
            </a:extLst>
          </p:cNvPr>
          <p:cNvSpPr/>
          <p:nvPr/>
        </p:nvSpPr>
        <p:spPr>
          <a:xfrm>
            <a:off x="6869465"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49" name="Rounded Rectangle 23">
            <a:extLst>
              <a:ext uri="{FF2B5EF4-FFF2-40B4-BE49-F238E27FC236}">
                <a16:creationId xmlns:a16="http://schemas.microsoft.com/office/drawing/2014/main" id="{FF9CA54C-F595-416A-AB7C-3AE6EB0F08FA}"/>
              </a:ext>
            </a:extLst>
          </p:cNvPr>
          <p:cNvSpPr/>
          <p:nvPr/>
        </p:nvSpPr>
        <p:spPr>
          <a:xfrm>
            <a:off x="6869465"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52" name="Rounded Rectangle 24">
            <a:extLst>
              <a:ext uri="{FF2B5EF4-FFF2-40B4-BE49-F238E27FC236}">
                <a16:creationId xmlns:a16="http://schemas.microsoft.com/office/drawing/2014/main" id="{83CFA65B-1E7F-473E-BA27-D30F20DC372F}"/>
              </a:ext>
            </a:extLst>
          </p:cNvPr>
          <p:cNvSpPr/>
          <p:nvPr/>
        </p:nvSpPr>
        <p:spPr>
          <a:xfrm>
            <a:off x="9746967"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53" name="Rounded Rectangle 25">
            <a:extLst>
              <a:ext uri="{FF2B5EF4-FFF2-40B4-BE49-F238E27FC236}">
                <a16:creationId xmlns:a16="http://schemas.microsoft.com/office/drawing/2014/main" id="{6CA2E350-D689-4994-BC45-86F31CF31B91}"/>
              </a:ext>
            </a:extLst>
          </p:cNvPr>
          <p:cNvSpPr/>
          <p:nvPr/>
        </p:nvSpPr>
        <p:spPr>
          <a:xfrm>
            <a:off x="9746967"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55" name="Rounded Rectangle 26">
            <a:extLst>
              <a:ext uri="{FF2B5EF4-FFF2-40B4-BE49-F238E27FC236}">
                <a16:creationId xmlns:a16="http://schemas.microsoft.com/office/drawing/2014/main" id="{5A8AB37B-A74A-4F0A-805C-85949C83EDD8}"/>
              </a:ext>
            </a:extLst>
          </p:cNvPr>
          <p:cNvSpPr/>
          <p:nvPr/>
        </p:nvSpPr>
        <p:spPr>
          <a:xfrm>
            <a:off x="9746967"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56" name="Rounded Rectangle 27">
            <a:extLst>
              <a:ext uri="{FF2B5EF4-FFF2-40B4-BE49-F238E27FC236}">
                <a16:creationId xmlns:a16="http://schemas.microsoft.com/office/drawing/2014/main" id="{AE66E8EC-53DB-4F2C-9C37-8847F2E2ED03}"/>
              </a:ext>
            </a:extLst>
          </p:cNvPr>
          <p:cNvSpPr/>
          <p:nvPr/>
        </p:nvSpPr>
        <p:spPr>
          <a:xfrm>
            <a:off x="9746967"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58" name="Rounded Rectangle 4">
            <a:extLst>
              <a:ext uri="{FF2B5EF4-FFF2-40B4-BE49-F238E27FC236}">
                <a16:creationId xmlns:a16="http://schemas.microsoft.com/office/drawing/2014/main" id="{EB040B80-8B04-40CD-BA0B-733C0ED67523}"/>
              </a:ext>
            </a:extLst>
          </p:cNvPr>
          <p:cNvSpPr/>
          <p:nvPr/>
        </p:nvSpPr>
        <p:spPr>
          <a:xfrm>
            <a:off x="2975100" y="2519361"/>
            <a:ext cx="1993610" cy="684883"/>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cs typeface="Arial" pitchFamily="34" charset="0"/>
              </a:rPr>
              <a:t>Sample Text</a:t>
            </a:r>
          </a:p>
        </p:txBody>
      </p:sp>
      <p:sp>
        <p:nvSpPr>
          <p:cNvPr id="3" name="Rectangle: Rounded Corners 2">
            <a:extLst>
              <a:ext uri="{FF2B5EF4-FFF2-40B4-BE49-F238E27FC236}">
                <a16:creationId xmlns:a16="http://schemas.microsoft.com/office/drawing/2014/main" id="{0CFE8132-59DD-2EAE-D4E1-B05EA367E68F}"/>
              </a:ext>
            </a:extLst>
          </p:cNvPr>
          <p:cNvSpPr/>
          <p:nvPr/>
        </p:nvSpPr>
        <p:spPr>
          <a:xfrm>
            <a:off x="10191867" y="237531"/>
            <a:ext cx="1728000"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t>Additional Template</a:t>
            </a:r>
          </a:p>
        </p:txBody>
      </p:sp>
    </p:spTree>
    <p:extLst>
      <p:ext uri="{BB962C8B-B14F-4D97-AF65-F5344CB8AC3E}">
        <p14:creationId xmlns:p14="http://schemas.microsoft.com/office/powerpoint/2010/main" val="23170624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2" name="Chevron 10">
            <a:extLst>
              <a:ext uri="{FF2B5EF4-FFF2-40B4-BE49-F238E27FC236}">
                <a16:creationId xmlns:a16="http://schemas.microsoft.com/office/drawing/2014/main" id="{33D97927-951B-FDBC-405D-3FFA6888D7A0}"/>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57A88701-A0A5-713E-7940-085AF5621AFD}"/>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CAD1D868-AB3C-5455-8159-F8643B596C19}"/>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3E4293C1-4F6B-A357-5D74-015075BE87A3}"/>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6C6EF6E1-0290-2C7F-0617-99D6F7C7712C}"/>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D28EA6-1E48-682B-483A-1D2D9E557282}"/>
              </a:ext>
            </a:extLst>
          </p:cNvPr>
          <p:cNvSpPr/>
          <p:nvPr/>
        </p:nvSpPr>
        <p:spPr bwMode="auto">
          <a:xfrm>
            <a:off x="544029"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721546FE-C935-2E4C-FB18-478B4EA0E7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38E8AE53-703F-297B-FADE-47C4558406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BF72BEBC-7607-4D38-8563-C0E0EBC67C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48D680B0-3230-18D9-C149-1A41497BFF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8286D6B0-E6B0-25A6-2A38-606C6A43E16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BD60D347-99AE-F756-8D34-8A263B3F4C94}"/>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57F403-BA8B-5619-8B1E-6797017B7D70}"/>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8D9EE62-885D-2134-4421-C528EE663B4A}"/>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88AFE8-4F76-8249-9A59-2E178F544A5F}"/>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561BA85-1AC6-5196-E879-4CA641B433AA}"/>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759BC80-A51A-629C-D18B-EB55E14F4028}"/>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Company mission, vision and values</a:t>
            </a:r>
          </a:p>
          <a:p>
            <a:pPr marL="169863" indent="-169863">
              <a:spcBef>
                <a:spcPts val="400"/>
              </a:spcBef>
              <a:spcAft>
                <a:spcPts val="400"/>
              </a:spcAft>
              <a:buFont typeface="+mj-lt"/>
              <a:buAutoNum type="arabicPeriod"/>
              <a:defRPr/>
            </a:pPr>
            <a:r>
              <a:rPr lang="en-GB" sz="1200" dirty="0"/>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B0F0"/>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C4FFAE33-DF0B-2531-6B3F-484725368A6A}"/>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4" name="Rectangle 23">
            <a:extLst>
              <a:ext uri="{FF2B5EF4-FFF2-40B4-BE49-F238E27FC236}">
                <a16:creationId xmlns:a16="http://schemas.microsoft.com/office/drawing/2014/main" id="{CDFB8376-53D3-488E-62B2-7BEA339725AB}"/>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5" name="Rectangle 24">
            <a:extLst>
              <a:ext uri="{FF2B5EF4-FFF2-40B4-BE49-F238E27FC236}">
                <a16:creationId xmlns:a16="http://schemas.microsoft.com/office/drawing/2014/main" id="{11517964-E29F-E01D-939A-1EE093F5D62A}"/>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31" name="Rectangle 30">
            <a:extLst>
              <a:ext uri="{FF2B5EF4-FFF2-40B4-BE49-F238E27FC236}">
                <a16:creationId xmlns:a16="http://schemas.microsoft.com/office/drawing/2014/main" id="{84366F80-874E-98D9-7CAD-2FD7596B3AC0}"/>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32" name="Graphic 31" descr="Statistics outline">
            <a:extLst>
              <a:ext uri="{FF2B5EF4-FFF2-40B4-BE49-F238E27FC236}">
                <a16:creationId xmlns:a16="http://schemas.microsoft.com/office/drawing/2014/main" id="{1D71B061-859C-D5EC-1851-9CA707B3D20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3" name="Rectangle 32">
            <a:extLst>
              <a:ext uri="{FF2B5EF4-FFF2-40B4-BE49-F238E27FC236}">
                <a16:creationId xmlns:a16="http://schemas.microsoft.com/office/drawing/2014/main" id="{69D21339-09A4-2A06-3EB3-56BEF01B216F}"/>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26100709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e identified 5 [insert your own number] M&amp;A guiding </a:t>
            </a:r>
            <a:r>
              <a:rPr lang="en-US" sz="2400" kern="0" dirty="0"/>
              <a:t>principles</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5" name="Rectangle 4">
            <a:extLst>
              <a:ext uri="{FF2B5EF4-FFF2-40B4-BE49-F238E27FC236}">
                <a16:creationId xmlns:a16="http://schemas.microsoft.com/office/drawing/2014/main" id="{451CCA09-1D02-4912-A627-48525D1FC292}"/>
              </a:ext>
            </a:extLst>
          </p:cNvPr>
          <p:cNvSpPr/>
          <p:nvPr/>
        </p:nvSpPr>
        <p:spPr>
          <a:xfrm>
            <a:off x="604837" y="1634687"/>
            <a:ext cx="363992"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6" name="Rectangle 5">
            <a:extLst>
              <a:ext uri="{FF2B5EF4-FFF2-40B4-BE49-F238E27FC236}">
                <a16:creationId xmlns:a16="http://schemas.microsoft.com/office/drawing/2014/main" id="{58640601-4D44-4B49-A731-7641730D8799}"/>
              </a:ext>
            </a:extLst>
          </p:cNvPr>
          <p:cNvSpPr/>
          <p:nvPr/>
        </p:nvSpPr>
        <p:spPr>
          <a:xfrm>
            <a:off x="3200400" y="1634687"/>
            <a:ext cx="8386763" cy="84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a quick description of your guiding principle (e.g. </a:t>
            </a:r>
            <a:r>
              <a:rPr lang="en-GB" sz="1200" dirty="0">
                <a:solidFill>
                  <a:schemeClr val="tx1"/>
                </a:solidFill>
              </a:rPr>
              <a:t>Ensure that decision-making and approval procedures are simple, robust and transparent)</a:t>
            </a:r>
            <a:endParaRPr lang="en-US" sz="1200" dirty="0">
              <a:solidFill>
                <a:schemeClr val="tx1"/>
              </a:solidFill>
            </a:endParaRPr>
          </a:p>
        </p:txBody>
      </p:sp>
      <p:sp>
        <p:nvSpPr>
          <p:cNvPr id="23" name="Rectangle 22">
            <a:extLst>
              <a:ext uri="{FF2B5EF4-FFF2-40B4-BE49-F238E27FC236}">
                <a16:creationId xmlns:a16="http://schemas.microsoft.com/office/drawing/2014/main" id="{B334694F-7BB3-4FCD-9E8F-FFA6E89394E3}"/>
              </a:ext>
            </a:extLst>
          </p:cNvPr>
          <p:cNvSpPr/>
          <p:nvPr/>
        </p:nvSpPr>
        <p:spPr>
          <a:xfrm>
            <a:off x="604837" y="2581744"/>
            <a:ext cx="363992"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2</a:t>
            </a:r>
            <a:endParaRPr lang="en-AU" sz="3200" b="1" dirty="0">
              <a:solidFill>
                <a:schemeClr val="bg1"/>
              </a:solidFill>
            </a:endParaRPr>
          </a:p>
        </p:txBody>
      </p:sp>
      <p:sp>
        <p:nvSpPr>
          <p:cNvPr id="24" name="Rectangle 23">
            <a:extLst>
              <a:ext uri="{FF2B5EF4-FFF2-40B4-BE49-F238E27FC236}">
                <a16:creationId xmlns:a16="http://schemas.microsoft.com/office/drawing/2014/main" id="{65ED58C9-C893-412C-A89A-0D2078927765}"/>
              </a:ext>
            </a:extLst>
          </p:cNvPr>
          <p:cNvSpPr/>
          <p:nvPr/>
        </p:nvSpPr>
        <p:spPr>
          <a:xfrm>
            <a:off x="3200400" y="2581744"/>
            <a:ext cx="8386763" cy="84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a quick description of your guiding principle (e.g. Ensure strategic alignment between the company vision and mission and the M&amp;A strategic objectives) </a:t>
            </a:r>
          </a:p>
        </p:txBody>
      </p:sp>
      <p:sp>
        <p:nvSpPr>
          <p:cNvPr id="25" name="Rectangle 24">
            <a:extLst>
              <a:ext uri="{FF2B5EF4-FFF2-40B4-BE49-F238E27FC236}">
                <a16:creationId xmlns:a16="http://schemas.microsoft.com/office/drawing/2014/main" id="{7D833DE7-9E1C-4475-A7CE-460FF1F4D7C1}"/>
              </a:ext>
            </a:extLst>
          </p:cNvPr>
          <p:cNvSpPr/>
          <p:nvPr/>
        </p:nvSpPr>
        <p:spPr>
          <a:xfrm>
            <a:off x="604837" y="3528801"/>
            <a:ext cx="363992"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3</a:t>
            </a:r>
            <a:endParaRPr lang="en-AU" sz="3200" b="1" dirty="0">
              <a:solidFill>
                <a:schemeClr val="bg1"/>
              </a:solidFill>
            </a:endParaRPr>
          </a:p>
        </p:txBody>
      </p:sp>
      <p:sp>
        <p:nvSpPr>
          <p:cNvPr id="26" name="Rectangle 25">
            <a:extLst>
              <a:ext uri="{FF2B5EF4-FFF2-40B4-BE49-F238E27FC236}">
                <a16:creationId xmlns:a16="http://schemas.microsoft.com/office/drawing/2014/main" id="{0F2E6CC3-2425-4F18-BF55-995AAC49BDEC}"/>
              </a:ext>
            </a:extLst>
          </p:cNvPr>
          <p:cNvSpPr/>
          <p:nvPr/>
        </p:nvSpPr>
        <p:spPr>
          <a:xfrm>
            <a:off x="3200400" y="3528801"/>
            <a:ext cx="8386763" cy="84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a quick description of your guiding principle (e.g. </a:t>
            </a:r>
            <a:r>
              <a:rPr lang="en-GB" sz="1200" dirty="0">
                <a:solidFill>
                  <a:schemeClr val="tx1"/>
                </a:solidFill>
              </a:rPr>
              <a:t>Establish joint ownership of a shared vision, strategy and journey between our company and the acquired company)</a:t>
            </a:r>
            <a:r>
              <a:rPr lang="en-US" sz="1200" dirty="0">
                <a:solidFill>
                  <a:schemeClr val="tx1"/>
                </a:solidFill>
              </a:rPr>
              <a:t> </a:t>
            </a:r>
          </a:p>
        </p:txBody>
      </p:sp>
      <p:sp>
        <p:nvSpPr>
          <p:cNvPr id="27" name="Rectangle 26">
            <a:extLst>
              <a:ext uri="{FF2B5EF4-FFF2-40B4-BE49-F238E27FC236}">
                <a16:creationId xmlns:a16="http://schemas.microsoft.com/office/drawing/2014/main" id="{CF68F54C-6564-4B2B-A213-1F519EEB94AD}"/>
              </a:ext>
            </a:extLst>
          </p:cNvPr>
          <p:cNvSpPr/>
          <p:nvPr/>
        </p:nvSpPr>
        <p:spPr>
          <a:xfrm>
            <a:off x="604837" y="4475858"/>
            <a:ext cx="363992"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4</a:t>
            </a:r>
            <a:endParaRPr lang="en-AU" sz="3200" b="1" dirty="0">
              <a:solidFill>
                <a:schemeClr val="bg1"/>
              </a:solidFill>
            </a:endParaRPr>
          </a:p>
        </p:txBody>
      </p:sp>
      <p:sp>
        <p:nvSpPr>
          <p:cNvPr id="28" name="Rectangle 27">
            <a:extLst>
              <a:ext uri="{FF2B5EF4-FFF2-40B4-BE49-F238E27FC236}">
                <a16:creationId xmlns:a16="http://schemas.microsoft.com/office/drawing/2014/main" id="{EC8720D3-8207-4B1C-913F-0D3EC2ECFB2B}"/>
              </a:ext>
            </a:extLst>
          </p:cNvPr>
          <p:cNvSpPr/>
          <p:nvPr/>
        </p:nvSpPr>
        <p:spPr>
          <a:xfrm>
            <a:off x="3200400" y="4475858"/>
            <a:ext cx="8386763" cy="84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a quick description of your guiding principle (e.g. Pay attention to retaining key talents)</a:t>
            </a:r>
          </a:p>
        </p:txBody>
      </p:sp>
      <p:sp>
        <p:nvSpPr>
          <p:cNvPr id="29" name="Rectangle 28">
            <a:extLst>
              <a:ext uri="{FF2B5EF4-FFF2-40B4-BE49-F238E27FC236}">
                <a16:creationId xmlns:a16="http://schemas.microsoft.com/office/drawing/2014/main" id="{9F88C4F5-E765-47EF-B190-EA4613B36123}"/>
              </a:ext>
            </a:extLst>
          </p:cNvPr>
          <p:cNvSpPr/>
          <p:nvPr/>
        </p:nvSpPr>
        <p:spPr>
          <a:xfrm>
            <a:off x="604837" y="5422915"/>
            <a:ext cx="363992"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5</a:t>
            </a:r>
            <a:endParaRPr lang="en-AU" sz="3200" b="1" dirty="0">
              <a:solidFill>
                <a:schemeClr val="bg1"/>
              </a:solidFill>
            </a:endParaRPr>
          </a:p>
        </p:txBody>
      </p:sp>
      <p:sp>
        <p:nvSpPr>
          <p:cNvPr id="30" name="Rectangle 29">
            <a:extLst>
              <a:ext uri="{FF2B5EF4-FFF2-40B4-BE49-F238E27FC236}">
                <a16:creationId xmlns:a16="http://schemas.microsoft.com/office/drawing/2014/main" id="{1F2E2D8A-2BD9-4E56-AD54-2E76B8B40303}"/>
              </a:ext>
            </a:extLst>
          </p:cNvPr>
          <p:cNvSpPr/>
          <p:nvPr/>
        </p:nvSpPr>
        <p:spPr>
          <a:xfrm>
            <a:off x="3200400" y="5422915"/>
            <a:ext cx="8386763" cy="84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ert a quick description of your guiding principle (e.g. Focus on transactions with an i</a:t>
            </a:r>
            <a:r>
              <a:rPr lang="en-GB" sz="1200" dirty="0">
                <a:solidFill>
                  <a:schemeClr val="tx1"/>
                </a:solidFill>
              </a:rPr>
              <a:t>nternal rate of return (IRR) that delivers an acceptable margin above cost of capital)</a:t>
            </a:r>
            <a:endParaRPr lang="en-US" sz="1200" dirty="0">
              <a:solidFill>
                <a:schemeClr val="tx1"/>
              </a:solidFill>
            </a:endParaRPr>
          </a:p>
        </p:txBody>
      </p:sp>
      <p:sp>
        <p:nvSpPr>
          <p:cNvPr id="31" name="Rectangle 30">
            <a:extLst>
              <a:ext uri="{FF2B5EF4-FFF2-40B4-BE49-F238E27FC236}">
                <a16:creationId xmlns:a16="http://schemas.microsoft.com/office/drawing/2014/main" id="{92591DBB-98EC-493C-A852-F0EFB804075A}"/>
              </a:ext>
            </a:extLst>
          </p:cNvPr>
          <p:cNvSpPr/>
          <p:nvPr/>
        </p:nvSpPr>
        <p:spPr>
          <a:xfrm>
            <a:off x="1062037" y="1634687"/>
            <a:ext cx="2007734"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rPr>
              <a:t>Insert title of your guiding principle (e.g. Simple decision-making process</a:t>
            </a:r>
          </a:p>
        </p:txBody>
      </p:sp>
      <p:sp>
        <p:nvSpPr>
          <p:cNvPr id="32" name="Rectangle 31">
            <a:extLst>
              <a:ext uri="{FF2B5EF4-FFF2-40B4-BE49-F238E27FC236}">
                <a16:creationId xmlns:a16="http://schemas.microsoft.com/office/drawing/2014/main" id="{E2D2C2F5-DA73-4151-9A73-5F844F4A5E2A}"/>
              </a:ext>
            </a:extLst>
          </p:cNvPr>
          <p:cNvSpPr/>
          <p:nvPr/>
        </p:nvSpPr>
        <p:spPr>
          <a:xfrm>
            <a:off x="1062037" y="2581744"/>
            <a:ext cx="2007734"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rPr>
              <a:t>Insert title of your guiding principle (e.g. Strategic alignment)</a:t>
            </a:r>
          </a:p>
        </p:txBody>
      </p:sp>
      <p:sp>
        <p:nvSpPr>
          <p:cNvPr id="33" name="Rectangle 32">
            <a:extLst>
              <a:ext uri="{FF2B5EF4-FFF2-40B4-BE49-F238E27FC236}">
                <a16:creationId xmlns:a16="http://schemas.microsoft.com/office/drawing/2014/main" id="{FF52AD10-B87D-42B7-BC46-3E3BA92DD759}"/>
              </a:ext>
            </a:extLst>
          </p:cNvPr>
          <p:cNvSpPr/>
          <p:nvPr/>
        </p:nvSpPr>
        <p:spPr>
          <a:xfrm>
            <a:off x="1062037" y="3528801"/>
            <a:ext cx="2007734"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rPr>
              <a:t>Insert title of your guiding principle (e.g. Shared vision)</a:t>
            </a:r>
          </a:p>
        </p:txBody>
      </p:sp>
      <p:sp>
        <p:nvSpPr>
          <p:cNvPr id="34" name="Rectangle 33">
            <a:extLst>
              <a:ext uri="{FF2B5EF4-FFF2-40B4-BE49-F238E27FC236}">
                <a16:creationId xmlns:a16="http://schemas.microsoft.com/office/drawing/2014/main" id="{8298234B-3021-44DF-8D5D-F615B16AD5EC}"/>
              </a:ext>
            </a:extLst>
          </p:cNvPr>
          <p:cNvSpPr/>
          <p:nvPr/>
        </p:nvSpPr>
        <p:spPr>
          <a:xfrm>
            <a:off x="1062037" y="4475858"/>
            <a:ext cx="2007734"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rPr>
              <a:t>Insert title of your guiding principle (e.g. Key talent)</a:t>
            </a:r>
          </a:p>
        </p:txBody>
      </p:sp>
      <p:sp>
        <p:nvSpPr>
          <p:cNvPr id="35" name="Rectangle 34">
            <a:extLst>
              <a:ext uri="{FF2B5EF4-FFF2-40B4-BE49-F238E27FC236}">
                <a16:creationId xmlns:a16="http://schemas.microsoft.com/office/drawing/2014/main" id="{C4C1607E-5DDE-476E-957E-58ACEBC90CCC}"/>
              </a:ext>
            </a:extLst>
          </p:cNvPr>
          <p:cNvSpPr/>
          <p:nvPr/>
        </p:nvSpPr>
        <p:spPr>
          <a:xfrm>
            <a:off x="1062037" y="5422915"/>
            <a:ext cx="2007734" cy="8472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rPr>
              <a:t>Insert title of your guiding principle (e.g. Internal rate of return)</a:t>
            </a:r>
          </a:p>
        </p:txBody>
      </p:sp>
    </p:spTree>
    <p:extLst>
      <p:ext uri="{BB962C8B-B14F-4D97-AF65-F5344CB8AC3E}">
        <p14:creationId xmlns:p14="http://schemas.microsoft.com/office/powerpoint/2010/main" val="14792950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2" name="Chevron 10">
            <a:extLst>
              <a:ext uri="{FF2B5EF4-FFF2-40B4-BE49-F238E27FC236}">
                <a16:creationId xmlns:a16="http://schemas.microsoft.com/office/drawing/2014/main" id="{33D97927-951B-FDBC-405D-3FFA6888D7A0}"/>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57A88701-A0A5-713E-7940-085AF5621AFD}"/>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CAD1D868-AB3C-5455-8159-F8643B596C19}"/>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3E4293C1-4F6B-A357-5D74-015075BE87A3}"/>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6C6EF6E1-0290-2C7F-0617-99D6F7C7712C}"/>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D28EA6-1E48-682B-483A-1D2D9E557282}"/>
              </a:ext>
            </a:extLst>
          </p:cNvPr>
          <p:cNvSpPr/>
          <p:nvPr/>
        </p:nvSpPr>
        <p:spPr bwMode="auto">
          <a:xfrm>
            <a:off x="544029"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721546FE-C935-2E4C-FB18-478B4EA0E7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38E8AE53-703F-297B-FADE-47C4558406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BF72BEBC-7607-4D38-8563-C0E0EBC67C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48D680B0-3230-18D9-C149-1A41497BFF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8286D6B0-E6B0-25A6-2A38-606C6A43E16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BD60D347-99AE-F756-8D34-8A263B3F4C94}"/>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57F403-BA8B-5619-8B1E-6797017B7D70}"/>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8D9EE62-885D-2134-4421-C528EE663B4A}"/>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88AFE8-4F76-8249-9A59-2E178F544A5F}"/>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561BA85-1AC6-5196-E879-4CA641B433AA}"/>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759BC80-A51A-629C-D18B-EB55E14F4028}"/>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Company mission, vision and values</a:t>
            </a:r>
          </a:p>
          <a:p>
            <a:pPr marL="169863" indent="-169863">
              <a:spcBef>
                <a:spcPts val="400"/>
              </a:spcBef>
              <a:spcAft>
                <a:spcPts val="400"/>
              </a:spcAft>
              <a:buFont typeface="+mj-lt"/>
              <a:buAutoNum type="arabicPeriod"/>
              <a:defRPr/>
            </a:pPr>
            <a:r>
              <a:rPr lang="en-GB" sz="1200" dirty="0"/>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B0F0"/>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C4FFAE33-DF0B-2531-6B3F-484725368A6A}"/>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4" name="Rectangle 23">
            <a:extLst>
              <a:ext uri="{FF2B5EF4-FFF2-40B4-BE49-F238E27FC236}">
                <a16:creationId xmlns:a16="http://schemas.microsoft.com/office/drawing/2014/main" id="{CDFB8376-53D3-488E-62B2-7BEA339725AB}"/>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5" name="Rectangle 24">
            <a:extLst>
              <a:ext uri="{FF2B5EF4-FFF2-40B4-BE49-F238E27FC236}">
                <a16:creationId xmlns:a16="http://schemas.microsoft.com/office/drawing/2014/main" id="{11517964-E29F-E01D-939A-1EE093F5D62A}"/>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31" name="Rectangle 30">
            <a:extLst>
              <a:ext uri="{FF2B5EF4-FFF2-40B4-BE49-F238E27FC236}">
                <a16:creationId xmlns:a16="http://schemas.microsoft.com/office/drawing/2014/main" id="{84366F80-874E-98D9-7CAD-2FD7596B3AC0}"/>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32" name="Graphic 31" descr="Statistics outline">
            <a:extLst>
              <a:ext uri="{FF2B5EF4-FFF2-40B4-BE49-F238E27FC236}">
                <a16:creationId xmlns:a16="http://schemas.microsoft.com/office/drawing/2014/main" id="{1D71B061-859C-D5EC-1851-9CA707B3D20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3" name="Rectangle 32">
            <a:extLst>
              <a:ext uri="{FF2B5EF4-FFF2-40B4-BE49-F238E27FC236}">
                <a16:creationId xmlns:a16="http://schemas.microsoft.com/office/drawing/2014/main" id="{69D21339-09A4-2A06-3EB3-56BEF01B216F}"/>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36392633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e identified 5 [insert your own number] screening criteria to help us select the right companies to potentially acquire</a:t>
            </a:r>
            <a:endParaRPr lang="en-US" sz="2400" kern="0" dirty="0"/>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cxnSp>
        <p:nvCxnSpPr>
          <p:cNvPr id="20" name="Straight Connector 19">
            <a:extLst>
              <a:ext uri="{FF2B5EF4-FFF2-40B4-BE49-F238E27FC236}">
                <a16:creationId xmlns:a16="http://schemas.microsoft.com/office/drawing/2014/main" id="{20AEA728-4591-4064-BF22-1324704EA368}"/>
              </a:ext>
            </a:extLst>
          </p:cNvPr>
          <p:cNvCxnSpPr>
            <a:cxnSpLocks/>
          </p:cNvCxnSpPr>
          <p:nvPr/>
        </p:nvCxnSpPr>
        <p:spPr>
          <a:xfrm>
            <a:off x="7005887" y="2683660"/>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C4154393-69BD-4256-83B9-7AB6B511F539}"/>
              </a:ext>
            </a:extLst>
          </p:cNvPr>
          <p:cNvSpPr/>
          <p:nvPr/>
        </p:nvSpPr>
        <p:spPr>
          <a:xfrm>
            <a:off x="8002853" y="2623128"/>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7B6444FD-EB2F-44DE-BE6A-97C67CD0E2C1}"/>
              </a:ext>
            </a:extLst>
          </p:cNvPr>
          <p:cNvCxnSpPr>
            <a:cxnSpLocks/>
          </p:cNvCxnSpPr>
          <p:nvPr/>
        </p:nvCxnSpPr>
        <p:spPr>
          <a:xfrm>
            <a:off x="7005887" y="4164605"/>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11A113D-B49F-4321-9B64-2DA0316D05F7}"/>
              </a:ext>
            </a:extLst>
          </p:cNvPr>
          <p:cNvSpPr/>
          <p:nvPr/>
        </p:nvSpPr>
        <p:spPr>
          <a:xfrm>
            <a:off x="8002853" y="4104073"/>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a:extLst>
              <a:ext uri="{FF2B5EF4-FFF2-40B4-BE49-F238E27FC236}">
                <a16:creationId xmlns:a16="http://schemas.microsoft.com/office/drawing/2014/main" id="{208A4C52-4E6B-427A-83A1-ECE3F1DB2785}"/>
              </a:ext>
            </a:extLst>
          </p:cNvPr>
          <p:cNvCxnSpPr>
            <a:cxnSpLocks/>
          </p:cNvCxnSpPr>
          <p:nvPr/>
        </p:nvCxnSpPr>
        <p:spPr>
          <a:xfrm>
            <a:off x="6795224" y="5584295"/>
            <a:ext cx="1219158" cy="1447"/>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5684BCB9-1D64-4814-8E68-C23822DA165B}"/>
              </a:ext>
            </a:extLst>
          </p:cNvPr>
          <p:cNvSpPr/>
          <p:nvPr/>
        </p:nvSpPr>
        <p:spPr>
          <a:xfrm>
            <a:off x="7980108" y="5523818"/>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9" name="Straight Connector 38">
            <a:extLst>
              <a:ext uri="{FF2B5EF4-FFF2-40B4-BE49-F238E27FC236}">
                <a16:creationId xmlns:a16="http://schemas.microsoft.com/office/drawing/2014/main" id="{C5A847E9-72AE-4EF6-9F3B-B03DC7C7295E}"/>
              </a:ext>
            </a:extLst>
          </p:cNvPr>
          <p:cNvCxnSpPr>
            <a:cxnSpLocks/>
          </p:cNvCxnSpPr>
          <p:nvPr/>
        </p:nvCxnSpPr>
        <p:spPr>
          <a:xfrm flipH="1">
            <a:off x="4106610" y="3409939"/>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2BE7CAA-8DE3-4194-9626-AB0115E835C9}"/>
              </a:ext>
            </a:extLst>
          </p:cNvPr>
          <p:cNvSpPr/>
          <p:nvPr/>
        </p:nvSpPr>
        <p:spPr>
          <a:xfrm flipH="1">
            <a:off x="4014765" y="3350266"/>
            <a:ext cx="120683" cy="12068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382DAA24-2637-4218-B03C-3D3372996660}"/>
              </a:ext>
            </a:extLst>
          </p:cNvPr>
          <p:cNvCxnSpPr>
            <a:cxnSpLocks/>
          </p:cNvCxnSpPr>
          <p:nvPr/>
        </p:nvCxnSpPr>
        <p:spPr>
          <a:xfrm flipH="1">
            <a:off x="4106610" y="4855575"/>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7B87E424-9BB0-4DE3-B024-133E76635D87}"/>
              </a:ext>
            </a:extLst>
          </p:cNvPr>
          <p:cNvSpPr/>
          <p:nvPr/>
        </p:nvSpPr>
        <p:spPr>
          <a:xfrm flipH="1">
            <a:off x="4014765" y="4795902"/>
            <a:ext cx="120683" cy="12068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6">
            <a:extLst>
              <a:ext uri="{FF2B5EF4-FFF2-40B4-BE49-F238E27FC236}">
                <a16:creationId xmlns:a16="http://schemas.microsoft.com/office/drawing/2014/main" id="{F4838B57-EE6F-4E30-A12E-B872C18B1D4C}"/>
              </a:ext>
            </a:extLst>
          </p:cNvPr>
          <p:cNvSpPr>
            <a:spLocks/>
          </p:cNvSpPr>
          <p:nvPr/>
        </p:nvSpPr>
        <p:spPr bwMode="auto">
          <a:xfrm>
            <a:off x="4332284" y="2221657"/>
            <a:ext cx="3473735" cy="741793"/>
          </a:xfrm>
          <a:custGeom>
            <a:avLst/>
            <a:gdLst/>
            <a:ahLst/>
            <a:cxnLst>
              <a:cxn ang="0">
                <a:pos x="1329" y="0"/>
              </a:cxn>
              <a:cxn ang="0">
                <a:pos x="1655" y="0"/>
              </a:cxn>
              <a:cxn ang="0">
                <a:pos x="1813" y="5"/>
              </a:cxn>
              <a:cxn ang="0">
                <a:pos x="1964" y="9"/>
              </a:cxn>
              <a:cxn ang="0">
                <a:pos x="2108" y="16"/>
              </a:cxn>
              <a:cxn ang="0">
                <a:pos x="2246" y="26"/>
              </a:cxn>
              <a:cxn ang="0">
                <a:pos x="2374" y="37"/>
              </a:cxn>
              <a:cxn ang="0">
                <a:pos x="2490" y="49"/>
              </a:cxn>
              <a:cxn ang="0">
                <a:pos x="2599" y="63"/>
              </a:cxn>
              <a:cxn ang="0">
                <a:pos x="2695" y="79"/>
              </a:cxn>
              <a:cxn ang="0">
                <a:pos x="2778" y="96"/>
              </a:cxn>
              <a:cxn ang="0">
                <a:pos x="2851" y="114"/>
              </a:cxn>
              <a:cxn ang="0">
                <a:pos x="2906" y="133"/>
              </a:cxn>
              <a:cxn ang="0">
                <a:pos x="2948" y="154"/>
              </a:cxn>
              <a:cxn ang="0">
                <a:pos x="2974" y="175"/>
              </a:cxn>
              <a:cxn ang="0">
                <a:pos x="2983" y="196"/>
              </a:cxn>
              <a:cxn ang="0">
                <a:pos x="2983" y="637"/>
              </a:cxn>
              <a:cxn ang="0">
                <a:pos x="0" y="637"/>
              </a:cxn>
              <a:cxn ang="0">
                <a:pos x="0" y="196"/>
              </a:cxn>
              <a:cxn ang="0">
                <a:pos x="10" y="175"/>
              </a:cxn>
              <a:cxn ang="0">
                <a:pos x="35" y="154"/>
              </a:cxn>
              <a:cxn ang="0">
                <a:pos x="77" y="133"/>
              </a:cxn>
              <a:cxn ang="0">
                <a:pos x="133" y="114"/>
              </a:cxn>
              <a:cxn ang="0">
                <a:pos x="205" y="96"/>
              </a:cxn>
              <a:cxn ang="0">
                <a:pos x="289" y="79"/>
              </a:cxn>
              <a:cxn ang="0">
                <a:pos x="384" y="63"/>
              </a:cxn>
              <a:cxn ang="0">
                <a:pos x="494" y="49"/>
              </a:cxn>
              <a:cxn ang="0">
                <a:pos x="610" y="37"/>
              </a:cxn>
              <a:cxn ang="0">
                <a:pos x="738" y="26"/>
              </a:cxn>
              <a:cxn ang="0">
                <a:pos x="875" y="16"/>
              </a:cxn>
              <a:cxn ang="0">
                <a:pos x="1019" y="9"/>
              </a:cxn>
              <a:cxn ang="0">
                <a:pos x="1171" y="5"/>
              </a:cxn>
              <a:cxn ang="0">
                <a:pos x="1329" y="0"/>
              </a:cxn>
            </a:cxnLst>
            <a:rect l="0" t="0" r="r" b="b"/>
            <a:pathLst>
              <a:path w="2983" h="637">
                <a:moveTo>
                  <a:pt x="1329" y="0"/>
                </a:moveTo>
                <a:lnTo>
                  <a:pt x="1655" y="0"/>
                </a:lnTo>
                <a:lnTo>
                  <a:pt x="1813" y="5"/>
                </a:lnTo>
                <a:lnTo>
                  <a:pt x="1964" y="9"/>
                </a:lnTo>
                <a:lnTo>
                  <a:pt x="2108" y="16"/>
                </a:lnTo>
                <a:lnTo>
                  <a:pt x="2246" y="26"/>
                </a:lnTo>
                <a:lnTo>
                  <a:pt x="2374" y="37"/>
                </a:lnTo>
                <a:lnTo>
                  <a:pt x="2490" y="49"/>
                </a:lnTo>
                <a:lnTo>
                  <a:pt x="2599" y="63"/>
                </a:lnTo>
                <a:lnTo>
                  <a:pt x="2695" y="79"/>
                </a:lnTo>
                <a:lnTo>
                  <a:pt x="2778" y="96"/>
                </a:lnTo>
                <a:lnTo>
                  <a:pt x="2851" y="114"/>
                </a:lnTo>
                <a:lnTo>
                  <a:pt x="2906" y="133"/>
                </a:lnTo>
                <a:lnTo>
                  <a:pt x="2948" y="154"/>
                </a:lnTo>
                <a:lnTo>
                  <a:pt x="2974" y="175"/>
                </a:lnTo>
                <a:lnTo>
                  <a:pt x="2983" y="196"/>
                </a:lnTo>
                <a:lnTo>
                  <a:pt x="2983" y="637"/>
                </a:lnTo>
                <a:lnTo>
                  <a:pt x="0" y="637"/>
                </a:lnTo>
                <a:lnTo>
                  <a:pt x="0" y="196"/>
                </a:lnTo>
                <a:lnTo>
                  <a:pt x="10" y="175"/>
                </a:lnTo>
                <a:lnTo>
                  <a:pt x="35" y="154"/>
                </a:lnTo>
                <a:lnTo>
                  <a:pt x="77" y="133"/>
                </a:lnTo>
                <a:lnTo>
                  <a:pt x="133" y="114"/>
                </a:lnTo>
                <a:lnTo>
                  <a:pt x="205" y="96"/>
                </a:lnTo>
                <a:lnTo>
                  <a:pt x="289" y="79"/>
                </a:lnTo>
                <a:lnTo>
                  <a:pt x="384" y="63"/>
                </a:lnTo>
                <a:lnTo>
                  <a:pt x="494" y="49"/>
                </a:lnTo>
                <a:lnTo>
                  <a:pt x="610" y="37"/>
                </a:lnTo>
                <a:lnTo>
                  <a:pt x="738" y="26"/>
                </a:lnTo>
                <a:lnTo>
                  <a:pt x="875" y="16"/>
                </a:lnTo>
                <a:lnTo>
                  <a:pt x="1019" y="9"/>
                </a:lnTo>
                <a:lnTo>
                  <a:pt x="1171" y="5"/>
                </a:lnTo>
                <a:lnTo>
                  <a:pt x="132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7">
            <a:extLst>
              <a:ext uri="{FF2B5EF4-FFF2-40B4-BE49-F238E27FC236}">
                <a16:creationId xmlns:a16="http://schemas.microsoft.com/office/drawing/2014/main" id="{C30115AD-B707-4CF9-A747-D3623D3C6BF8}"/>
              </a:ext>
            </a:extLst>
          </p:cNvPr>
          <p:cNvSpPr>
            <a:spLocks/>
          </p:cNvSpPr>
          <p:nvPr/>
        </p:nvSpPr>
        <p:spPr bwMode="auto">
          <a:xfrm>
            <a:off x="4332284" y="2738700"/>
            <a:ext cx="3473735" cy="454159"/>
          </a:xfrm>
          <a:custGeom>
            <a:avLst/>
            <a:gdLst/>
            <a:ahLst/>
            <a:cxnLst>
              <a:cxn ang="0">
                <a:pos x="1329" y="0"/>
              </a:cxn>
              <a:cxn ang="0">
                <a:pos x="1655" y="0"/>
              </a:cxn>
              <a:cxn ang="0">
                <a:pos x="1813" y="4"/>
              </a:cxn>
              <a:cxn ang="0">
                <a:pos x="1964" y="9"/>
              </a:cxn>
              <a:cxn ang="0">
                <a:pos x="2108" y="16"/>
              </a:cxn>
              <a:cxn ang="0">
                <a:pos x="2246" y="25"/>
              </a:cxn>
              <a:cxn ang="0">
                <a:pos x="2374" y="37"/>
              </a:cxn>
              <a:cxn ang="0">
                <a:pos x="2490" y="49"/>
              </a:cxn>
              <a:cxn ang="0">
                <a:pos x="2599" y="63"/>
              </a:cxn>
              <a:cxn ang="0">
                <a:pos x="2695" y="79"/>
              </a:cxn>
              <a:cxn ang="0">
                <a:pos x="2778" y="95"/>
              </a:cxn>
              <a:cxn ang="0">
                <a:pos x="2851" y="114"/>
              </a:cxn>
              <a:cxn ang="0">
                <a:pos x="2906" y="133"/>
              </a:cxn>
              <a:cxn ang="0">
                <a:pos x="2948" y="151"/>
              </a:cxn>
              <a:cxn ang="0">
                <a:pos x="2974" y="172"/>
              </a:cxn>
              <a:cxn ang="0">
                <a:pos x="2983" y="193"/>
              </a:cxn>
              <a:cxn ang="0">
                <a:pos x="2974" y="214"/>
              </a:cxn>
              <a:cxn ang="0">
                <a:pos x="2948" y="235"/>
              </a:cxn>
              <a:cxn ang="0">
                <a:pos x="2906" y="254"/>
              </a:cxn>
              <a:cxn ang="0">
                <a:pos x="2851" y="275"/>
              </a:cxn>
              <a:cxn ang="0">
                <a:pos x="2778" y="292"/>
              </a:cxn>
              <a:cxn ang="0">
                <a:pos x="2695" y="308"/>
              </a:cxn>
              <a:cxn ang="0">
                <a:pos x="2599" y="324"/>
              </a:cxn>
              <a:cxn ang="0">
                <a:pos x="2490" y="338"/>
              </a:cxn>
              <a:cxn ang="0">
                <a:pos x="2374" y="352"/>
              </a:cxn>
              <a:cxn ang="0">
                <a:pos x="2246" y="362"/>
              </a:cxn>
              <a:cxn ang="0">
                <a:pos x="2108" y="371"/>
              </a:cxn>
              <a:cxn ang="0">
                <a:pos x="1964" y="380"/>
              </a:cxn>
              <a:cxn ang="0">
                <a:pos x="1813" y="385"/>
              </a:cxn>
              <a:cxn ang="0">
                <a:pos x="1655" y="390"/>
              </a:cxn>
              <a:cxn ang="0">
                <a:pos x="1329" y="390"/>
              </a:cxn>
              <a:cxn ang="0">
                <a:pos x="1171" y="385"/>
              </a:cxn>
              <a:cxn ang="0">
                <a:pos x="1019" y="380"/>
              </a:cxn>
              <a:cxn ang="0">
                <a:pos x="875" y="371"/>
              </a:cxn>
              <a:cxn ang="0">
                <a:pos x="738" y="362"/>
              </a:cxn>
              <a:cxn ang="0">
                <a:pos x="610" y="352"/>
              </a:cxn>
              <a:cxn ang="0">
                <a:pos x="494" y="338"/>
              </a:cxn>
              <a:cxn ang="0">
                <a:pos x="384" y="324"/>
              </a:cxn>
              <a:cxn ang="0">
                <a:pos x="289" y="308"/>
              </a:cxn>
              <a:cxn ang="0">
                <a:pos x="205" y="292"/>
              </a:cxn>
              <a:cxn ang="0">
                <a:pos x="133" y="275"/>
              </a:cxn>
              <a:cxn ang="0">
                <a:pos x="77" y="254"/>
              </a:cxn>
              <a:cxn ang="0">
                <a:pos x="35" y="235"/>
              </a:cxn>
              <a:cxn ang="0">
                <a:pos x="10" y="214"/>
              </a:cxn>
              <a:cxn ang="0">
                <a:pos x="0" y="193"/>
              </a:cxn>
              <a:cxn ang="0">
                <a:pos x="10" y="172"/>
              </a:cxn>
              <a:cxn ang="0">
                <a:pos x="35" y="151"/>
              </a:cxn>
              <a:cxn ang="0">
                <a:pos x="77" y="133"/>
              </a:cxn>
              <a:cxn ang="0">
                <a:pos x="133" y="114"/>
              </a:cxn>
              <a:cxn ang="0">
                <a:pos x="205" y="95"/>
              </a:cxn>
              <a:cxn ang="0">
                <a:pos x="289" y="79"/>
              </a:cxn>
              <a:cxn ang="0">
                <a:pos x="384" y="63"/>
              </a:cxn>
              <a:cxn ang="0">
                <a:pos x="494" y="49"/>
              </a:cxn>
              <a:cxn ang="0">
                <a:pos x="610" y="37"/>
              </a:cxn>
              <a:cxn ang="0">
                <a:pos x="738" y="25"/>
              </a:cxn>
              <a:cxn ang="0">
                <a:pos x="875" y="16"/>
              </a:cxn>
              <a:cxn ang="0">
                <a:pos x="1019" y="9"/>
              </a:cxn>
              <a:cxn ang="0">
                <a:pos x="1171" y="4"/>
              </a:cxn>
              <a:cxn ang="0">
                <a:pos x="1329" y="0"/>
              </a:cxn>
            </a:cxnLst>
            <a:rect l="0" t="0" r="r" b="b"/>
            <a:pathLst>
              <a:path w="2983" h="390">
                <a:moveTo>
                  <a:pt x="1329" y="0"/>
                </a:moveTo>
                <a:lnTo>
                  <a:pt x="1655" y="0"/>
                </a:lnTo>
                <a:lnTo>
                  <a:pt x="1813" y="4"/>
                </a:lnTo>
                <a:lnTo>
                  <a:pt x="1964" y="9"/>
                </a:lnTo>
                <a:lnTo>
                  <a:pt x="2108" y="16"/>
                </a:lnTo>
                <a:lnTo>
                  <a:pt x="2246" y="25"/>
                </a:lnTo>
                <a:lnTo>
                  <a:pt x="2374" y="37"/>
                </a:lnTo>
                <a:lnTo>
                  <a:pt x="2490" y="49"/>
                </a:lnTo>
                <a:lnTo>
                  <a:pt x="2599" y="63"/>
                </a:lnTo>
                <a:lnTo>
                  <a:pt x="2695" y="79"/>
                </a:lnTo>
                <a:lnTo>
                  <a:pt x="2778" y="95"/>
                </a:lnTo>
                <a:lnTo>
                  <a:pt x="2851" y="114"/>
                </a:lnTo>
                <a:lnTo>
                  <a:pt x="2906" y="133"/>
                </a:lnTo>
                <a:lnTo>
                  <a:pt x="2948" y="151"/>
                </a:lnTo>
                <a:lnTo>
                  <a:pt x="2974" y="172"/>
                </a:lnTo>
                <a:lnTo>
                  <a:pt x="2983" y="193"/>
                </a:lnTo>
                <a:lnTo>
                  <a:pt x="2974" y="214"/>
                </a:lnTo>
                <a:lnTo>
                  <a:pt x="2948" y="235"/>
                </a:lnTo>
                <a:lnTo>
                  <a:pt x="2906" y="254"/>
                </a:lnTo>
                <a:lnTo>
                  <a:pt x="2851" y="275"/>
                </a:lnTo>
                <a:lnTo>
                  <a:pt x="2778" y="292"/>
                </a:lnTo>
                <a:lnTo>
                  <a:pt x="2695" y="308"/>
                </a:lnTo>
                <a:lnTo>
                  <a:pt x="2599" y="324"/>
                </a:lnTo>
                <a:lnTo>
                  <a:pt x="2490" y="338"/>
                </a:lnTo>
                <a:lnTo>
                  <a:pt x="2374" y="352"/>
                </a:lnTo>
                <a:lnTo>
                  <a:pt x="2246" y="362"/>
                </a:lnTo>
                <a:lnTo>
                  <a:pt x="2108" y="371"/>
                </a:lnTo>
                <a:lnTo>
                  <a:pt x="1964" y="380"/>
                </a:lnTo>
                <a:lnTo>
                  <a:pt x="1813" y="385"/>
                </a:lnTo>
                <a:lnTo>
                  <a:pt x="1655" y="390"/>
                </a:lnTo>
                <a:lnTo>
                  <a:pt x="1329" y="390"/>
                </a:lnTo>
                <a:lnTo>
                  <a:pt x="1171" y="385"/>
                </a:lnTo>
                <a:lnTo>
                  <a:pt x="1019" y="380"/>
                </a:lnTo>
                <a:lnTo>
                  <a:pt x="875" y="371"/>
                </a:lnTo>
                <a:lnTo>
                  <a:pt x="738" y="362"/>
                </a:lnTo>
                <a:lnTo>
                  <a:pt x="610" y="352"/>
                </a:lnTo>
                <a:lnTo>
                  <a:pt x="494" y="338"/>
                </a:lnTo>
                <a:lnTo>
                  <a:pt x="384" y="324"/>
                </a:lnTo>
                <a:lnTo>
                  <a:pt x="289" y="308"/>
                </a:lnTo>
                <a:lnTo>
                  <a:pt x="205" y="292"/>
                </a:lnTo>
                <a:lnTo>
                  <a:pt x="133" y="275"/>
                </a:lnTo>
                <a:lnTo>
                  <a:pt x="77" y="254"/>
                </a:lnTo>
                <a:lnTo>
                  <a:pt x="35" y="235"/>
                </a:lnTo>
                <a:lnTo>
                  <a:pt x="10" y="214"/>
                </a:lnTo>
                <a:lnTo>
                  <a:pt x="0" y="193"/>
                </a:lnTo>
                <a:lnTo>
                  <a:pt x="10" y="172"/>
                </a:lnTo>
                <a:lnTo>
                  <a:pt x="35" y="151"/>
                </a:lnTo>
                <a:lnTo>
                  <a:pt x="77" y="133"/>
                </a:lnTo>
                <a:lnTo>
                  <a:pt x="133" y="114"/>
                </a:lnTo>
                <a:lnTo>
                  <a:pt x="205" y="95"/>
                </a:lnTo>
                <a:lnTo>
                  <a:pt x="289" y="79"/>
                </a:lnTo>
                <a:lnTo>
                  <a:pt x="384" y="63"/>
                </a:lnTo>
                <a:lnTo>
                  <a:pt x="494" y="49"/>
                </a:lnTo>
                <a:lnTo>
                  <a:pt x="610" y="37"/>
                </a:lnTo>
                <a:lnTo>
                  <a:pt x="738" y="25"/>
                </a:lnTo>
                <a:lnTo>
                  <a:pt x="875" y="16"/>
                </a:lnTo>
                <a:lnTo>
                  <a:pt x="1019" y="9"/>
                </a:lnTo>
                <a:lnTo>
                  <a:pt x="1171" y="4"/>
                </a:lnTo>
                <a:lnTo>
                  <a:pt x="1329"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2">
            <a:extLst>
              <a:ext uri="{FF2B5EF4-FFF2-40B4-BE49-F238E27FC236}">
                <a16:creationId xmlns:a16="http://schemas.microsoft.com/office/drawing/2014/main" id="{99B6D50A-B294-4D0F-8B1E-9B38F1A523C9}"/>
              </a:ext>
            </a:extLst>
          </p:cNvPr>
          <p:cNvSpPr>
            <a:spLocks/>
          </p:cNvSpPr>
          <p:nvPr/>
        </p:nvSpPr>
        <p:spPr bwMode="auto">
          <a:xfrm>
            <a:off x="4619918" y="3007703"/>
            <a:ext cx="2899632" cy="709187"/>
          </a:xfrm>
          <a:custGeom>
            <a:avLst/>
            <a:gdLst/>
            <a:ahLst/>
            <a:cxnLst>
              <a:cxn ang="0">
                <a:pos x="1100" y="0"/>
              </a:cxn>
              <a:cxn ang="0">
                <a:pos x="1389" y="0"/>
              </a:cxn>
              <a:cxn ang="0">
                <a:pos x="1531" y="4"/>
              </a:cxn>
              <a:cxn ang="0">
                <a:pos x="1666" y="9"/>
              </a:cxn>
              <a:cxn ang="0">
                <a:pos x="1794" y="16"/>
              </a:cxn>
              <a:cxn ang="0">
                <a:pos x="1913" y="26"/>
              </a:cxn>
              <a:cxn ang="0">
                <a:pos x="2024" y="37"/>
              </a:cxn>
              <a:cxn ang="0">
                <a:pos x="2127" y="49"/>
              </a:cxn>
              <a:cxn ang="0">
                <a:pos x="2217" y="61"/>
              </a:cxn>
              <a:cxn ang="0">
                <a:pos x="2296" y="77"/>
              </a:cxn>
              <a:cxn ang="0">
                <a:pos x="2364" y="93"/>
              </a:cxn>
              <a:cxn ang="0">
                <a:pos x="2417" y="110"/>
              </a:cxn>
              <a:cxn ang="0">
                <a:pos x="2457" y="126"/>
              </a:cxn>
              <a:cxn ang="0">
                <a:pos x="2480" y="145"/>
              </a:cxn>
              <a:cxn ang="0">
                <a:pos x="2490" y="163"/>
              </a:cxn>
              <a:cxn ang="0">
                <a:pos x="2490" y="609"/>
              </a:cxn>
              <a:cxn ang="0">
                <a:pos x="0" y="609"/>
              </a:cxn>
              <a:cxn ang="0">
                <a:pos x="0" y="163"/>
              </a:cxn>
              <a:cxn ang="0">
                <a:pos x="9" y="145"/>
              </a:cxn>
              <a:cxn ang="0">
                <a:pos x="33" y="126"/>
              </a:cxn>
              <a:cxn ang="0">
                <a:pos x="72" y="110"/>
              </a:cxn>
              <a:cxn ang="0">
                <a:pos x="126" y="93"/>
              </a:cxn>
              <a:cxn ang="0">
                <a:pos x="193" y="77"/>
              </a:cxn>
              <a:cxn ang="0">
                <a:pos x="272" y="61"/>
              </a:cxn>
              <a:cxn ang="0">
                <a:pos x="365" y="49"/>
              </a:cxn>
              <a:cxn ang="0">
                <a:pos x="465" y="37"/>
              </a:cxn>
              <a:cxn ang="0">
                <a:pos x="577" y="26"/>
              </a:cxn>
              <a:cxn ang="0">
                <a:pos x="696" y="16"/>
              </a:cxn>
              <a:cxn ang="0">
                <a:pos x="824" y="9"/>
              </a:cxn>
              <a:cxn ang="0">
                <a:pos x="959" y="4"/>
              </a:cxn>
              <a:cxn ang="0">
                <a:pos x="1100" y="0"/>
              </a:cxn>
            </a:cxnLst>
            <a:rect l="0" t="0" r="r" b="b"/>
            <a:pathLst>
              <a:path w="2490" h="609">
                <a:moveTo>
                  <a:pt x="1100" y="0"/>
                </a:moveTo>
                <a:lnTo>
                  <a:pt x="1389" y="0"/>
                </a:lnTo>
                <a:lnTo>
                  <a:pt x="1531" y="4"/>
                </a:lnTo>
                <a:lnTo>
                  <a:pt x="1666" y="9"/>
                </a:lnTo>
                <a:lnTo>
                  <a:pt x="1794" y="16"/>
                </a:lnTo>
                <a:lnTo>
                  <a:pt x="1913" y="26"/>
                </a:lnTo>
                <a:lnTo>
                  <a:pt x="2024" y="37"/>
                </a:lnTo>
                <a:lnTo>
                  <a:pt x="2127" y="49"/>
                </a:lnTo>
                <a:lnTo>
                  <a:pt x="2217" y="61"/>
                </a:lnTo>
                <a:lnTo>
                  <a:pt x="2296" y="77"/>
                </a:lnTo>
                <a:lnTo>
                  <a:pt x="2364" y="93"/>
                </a:lnTo>
                <a:lnTo>
                  <a:pt x="2417" y="110"/>
                </a:lnTo>
                <a:lnTo>
                  <a:pt x="2457" y="126"/>
                </a:lnTo>
                <a:lnTo>
                  <a:pt x="2480" y="145"/>
                </a:lnTo>
                <a:lnTo>
                  <a:pt x="2490" y="163"/>
                </a:lnTo>
                <a:lnTo>
                  <a:pt x="2490" y="609"/>
                </a:lnTo>
                <a:lnTo>
                  <a:pt x="0" y="609"/>
                </a:lnTo>
                <a:lnTo>
                  <a:pt x="0" y="163"/>
                </a:lnTo>
                <a:lnTo>
                  <a:pt x="9" y="145"/>
                </a:lnTo>
                <a:lnTo>
                  <a:pt x="33" y="126"/>
                </a:lnTo>
                <a:lnTo>
                  <a:pt x="72" y="110"/>
                </a:lnTo>
                <a:lnTo>
                  <a:pt x="126" y="93"/>
                </a:lnTo>
                <a:lnTo>
                  <a:pt x="193" y="77"/>
                </a:lnTo>
                <a:lnTo>
                  <a:pt x="272" y="61"/>
                </a:lnTo>
                <a:lnTo>
                  <a:pt x="365" y="49"/>
                </a:lnTo>
                <a:lnTo>
                  <a:pt x="465" y="37"/>
                </a:lnTo>
                <a:lnTo>
                  <a:pt x="577" y="26"/>
                </a:lnTo>
                <a:lnTo>
                  <a:pt x="696" y="16"/>
                </a:lnTo>
                <a:lnTo>
                  <a:pt x="824" y="9"/>
                </a:lnTo>
                <a:lnTo>
                  <a:pt x="959" y="4"/>
                </a:lnTo>
                <a:lnTo>
                  <a:pt x="1100"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3">
            <a:extLst>
              <a:ext uri="{FF2B5EF4-FFF2-40B4-BE49-F238E27FC236}">
                <a16:creationId xmlns:a16="http://schemas.microsoft.com/office/drawing/2014/main" id="{0C1E9E94-3187-4E28-A3E8-6D938E1E36FC}"/>
              </a:ext>
            </a:extLst>
          </p:cNvPr>
          <p:cNvSpPr>
            <a:spLocks/>
          </p:cNvSpPr>
          <p:nvPr/>
        </p:nvSpPr>
        <p:spPr bwMode="auto">
          <a:xfrm>
            <a:off x="4619918" y="3527075"/>
            <a:ext cx="2899632" cy="377302"/>
          </a:xfrm>
          <a:custGeom>
            <a:avLst/>
            <a:gdLst/>
            <a:ahLst/>
            <a:cxnLst>
              <a:cxn ang="0">
                <a:pos x="1100" y="0"/>
              </a:cxn>
              <a:cxn ang="0">
                <a:pos x="1389" y="0"/>
              </a:cxn>
              <a:cxn ang="0">
                <a:pos x="1531" y="4"/>
              </a:cxn>
              <a:cxn ang="0">
                <a:pos x="1666" y="9"/>
              </a:cxn>
              <a:cxn ang="0">
                <a:pos x="1794" y="16"/>
              </a:cxn>
              <a:cxn ang="0">
                <a:pos x="1913" y="25"/>
              </a:cxn>
              <a:cxn ang="0">
                <a:pos x="2024" y="35"/>
              </a:cxn>
              <a:cxn ang="0">
                <a:pos x="2127" y="46"/>
              </a:cxn>
              <a:cxn ang="0">
                <a:pos x="2217" y="61"/>
              </a:cxn>
              <a:cxn ang="0">
                <a:pos x="2296" y="75"/>
              </a:cxn>
              <a:cxn ang="0">
                <a:pos x="2364" y="91"/>
              </a:cxn>
              <a:cxn ang="0">
                <a:pos x="2417" y="107"/>
              </a:cxn>
              <a:cxn ang="0">
                <a:pos x="2457" y="126"/>
              </a:cxn>
              <a:cxn ang="0">
                <a:pos x="2480" y="145"/>
              </a:cxn>
              <a:cxn ang="0">
                <a:pos x="2490" y="163"/>
              </a:cxn>
              <a:cxn ang="0">
                <a:pos x="2480" y="182"/>
              </a:cxn>
              <a:cxn ang="0">
                <a:pos x="2457" y="201"/>
              </a:cxn>
              <a:cxn ang="0">
                <a:pos x="2417" y="217"/>
              </a:cxn>
              <a:cxn ang="0">
                <a:pos x="2364" y="233"/>
              </a:cxn>
              <a:cxn ang="0">
                <a:pos x="2296" y="250"/>
              </a:cxn>
              <a:cxn ang="0">
                <a:pos x="2217" y="264"/>
              </a:cxn>
              <a:cxn ang="0">
                <a:pos x="2127" y="278"/>
              </a:cxn>
              <a:cxn ang="0">
                <a:pos x="2024" y="289"/>
              </a:cxn>
              <a:cxn ang="0">
                <a:pos x="1913" y="299"/>
              </a:cxn>
              <a:cxn ang="0">
                <a:pos x="1794" y="308"/>
              </a:cxn>
              <a:cxn ang="0">
                <a:pos x="1666" y="315"/>
              </a:cxn>
              <a:cxn ang="0">
                <a:pos x="1531" y="320"/>
              </a:cxn>
              <a:cxn ang="0">
                <a:pos x="1389" y="324"/>
              </a:cxn>
              <a:cxn ang="0">
                <a:pos x="1100" y="324"/>
              </a:cxn>
              <a:cxn ang="0">
                <a:pos x="959" y="320"/>
              </a:cxn>
              <a:cxn ang="0">
                <a:pos x="824" y="315"/>
              </a:cxn>
              <a:cxn ang="0">
                <a:pos x="696" y="308"/>
              </a:cxn>
              <a:cxn ang="0">
                <a:pos x="577" y="299"/>
              </a:cxn>
              <a:cxn ang="0">
                <a:pos x="465" y="289"/>
              </a:cxn>
              <a:cxn ang="0">
                <a:pos x="365" y="278"/>
              </a:cxn>
              <a:cxn ang="0">
                <a:pos x="272" y="264"/>
              </a:cxn>
              <a:cxn ang="0">
                <a:pos x="193" y="250"/>
              </a:cxn>
              <a:cxn ang="0">
                <a:pos x="126" y="233"/>
              </a:cxn>
              <a:cxn ang="0">
                <a:pos x="72" y="217"/>
              </a:cxn>
              <a:cxn ang="0">
                <a:pos x="33" y="201"/>
              </a:cxn>
              <a:cxn ang="0">
                <a:pos x="9" y="182"/>
              </a:cxn>
              <a:cxn ang="0">
                <a:pos x="0" y="163"/>
              </a:cxn>
              <a:cxn ang="0">
                <a:pos x="9" y="145"/>
              </a:cxn>
              <a:cxn ang="0">
                <a:pos x="33" y="126"/>
              </a:cxn>
              <a:cxn ang="0">
                <a:pos x="72" y="107"/>
              </a:cxn>
              <a:cxn ang="0">
                <a:pos x="126" y="91"/>
              </a:cxn>
              <a:cxn ang="0">
                <a:pos x="193" y="75"/>
              </a:cxn>
              <a:cxn ang="0">
                <a:pos x="272" y="61"/>
              </a:cxn>
              <a:cxn ang="0">
                <a:pos x="365" y="46"/>
              </a:cxn>
              <a:cxn ang="0">
                <a:pos x="465" y="35"/>
              </a:cxn>
              <a:cxn ang="0">
                <a:pos x="577" y="25"/>
              </a:cxn>
              <a:cxn ang="0">
                <a:pos x="696" y="16"/>
              </a:cxn>
              <a:cxn ang="0">
                <a:pos x="824" y="9"/>
              </a:cxn>
              <a:cxn ang="0">
                <a:pos x="959" y="4"/>
              </a:cxn>
              <a:cxn ang="0">
                <a:pos x="1100" y="0"/>
              </a:cxn>
            </a:cxnLst>
            <a:rect l="0" t="0" r="r" b="b"/>
            <a:pathLst>
              <a:path w="2490" h="324">
                <a:moveTo>
                  <a:pt x="1100" y="0"/>
                </a:moveTo>
                <a:lnTo>
                  <a:pt x="1389" y="0"/>
                </a:lnTo>
                <a:lnTo>
                  <a:pt x="1531" y="4"/>
                </a:lnTo>
                <a:lnTo>
                  <a:pt x="1666" y="9"/>
                </a:lnTo>
                <a:lnTo>
                  <a:pt x="1794" y="16"/>
                </a:lnTo>
                <a:lnTo>
                  <a:pt x="1913" y="25"/>
                </a:lnTo>
                <a:lnTo>
                  <a:pt x="2024" y="35"/>
                </a:lnTo>
                <a:lnTo>
                  <a:pt x="2127" y="46"/>
                </a:lnTo>
                <a:lnTo>
                  <a:pt x="2217" y="61"/>
                </a:lnTo>
                <a:lnTo>
                  <a:pt x="2296" y="75"/>
                </a:lnTo>
                <a:lnTo>
                  <a:pt x="2364" y="91"/>
                </a:lnTo>
                <a:lnTo>
                  <a:pt x="2417" y="107"/>
                </a:lnTo>
                <a:lnTo>
                  <a:pt x="2457" y="126"/>
                </a:lnTo>
                <a:lnTo>
                  <a:pt x="2480" y="145"/>
                </a:lnTo>
                <a:lnTo>
                  <a:pt x="2490" y="163"/>
                </a:lnTo>
                <a:lnTo>
                  <a:pt x="2480" y="182"/>
                </a:lnTo>
                <a:lnTo>
                  <a:pt x="2457" y="201"/>
                </a:lnTo>
                <a:lnTo>
                  <a:pt x="2417" y="217"/>
                </a:lnTo>
                <a:lnTo>
                  <a:pt x="2364" y="233"/>
                </a:lnTo>
                <a:lnTo>
                  <a:pt x="2296" y="250"/>
                </a:lnTo>
                <a:lnTo>
                  <a:pt x="2217" y="264"/>
                </a:lnTo>
                <a:lnTo>
                  <a:pt x="2127" y="278"/>
                </a:lnTo>
                <a:lnTo>
                  <a:pt x="2024" y="289"/>
                </a:lnTo>
                <a:lnTo>
                  <a:pt x="1913" y="299"/>
                </a:lnTo>
                <a:lnTo>
                  <a:pt x="1794" y="308"/>
                </a:lnTo>
                <a:lnTo>
                  <a:pt x="1666" y="315"/>
                </a:lnTo>
                <a:lnTo>
                  <a:pt x="1531" y="320"/>
                </a:lnTo>
                <a:lnTo>
                  <a:pt x="1389" y="324"/>
                </a:lnTo>
                <a:lnTo>
                  <a:pt x="1100" y="324"/>
                </a:lnTo>
                <a:lnTo>
                  <a:pt x="959" y="320"/>
                </a:lnTo>
                <a:lnTo>
                  <a:pt x="824" y="315"/>
                </a:lnTo>
                <a:lnTo>
                  <a:pt x="696" y="308"/>
                </a:lnTo>
                <a:lnTo>
                  <a:pt x="577" y="299"/>
                </a:lnTo>
                <a:lnTo>
                  <a:pt x="465" y="289"/>
                </a:lnTo>
                <a:lnTo>
                  <a:pt x="365" y="278"/>
                </a:lnTo>
                <a:lnTo>
                  <a:pt x="272" y="264"/>
                </a:lnTo>
                <a:lnTo>
                  <a:pt x="193" y="250"/>
                </a:lnTo>
                <a:lnTo>
                  <a:pt x="126" y="233"/>
                </a:lnTo>
                <a:lnTo>
                  <a:pt x="72" y="217"/>
                </a:lnTo>
                <a:lnTo>
                  <a:pt x="33" y="201"/>
                </a:lnTo>
                <a:lnTo>
                  <a:pt x="9" y="182"/>
                </a:lnTo>
                <a:lnTo>
                  <a:pt x="0" y="163"/>
                </a:lnTo>
                <a:lnTo>
                  <a:pt x="9" y="145"/>
                </a:lnTo>
                <a:lnTo>
                  <a:pt x="33" y="126"/>
                </a:lnTo>
                <a:lnTo>
                  <a:pt x="72" y="107"/>
                </a:lnTo>
                <a:lnTo>
                  <a:pt x="126" y="91"/>
                </a:lnTo>
                <a:lnTo>
                  <a:pt x="193" y="75"/>
                </a:lnTo>
                <a:lnTo>
                  <a:pt x="272" y="61"/>
                </a:lnTo>
                <a:lnTo>
                  <a:pt x="365" y="46"/>
                </a:lnTo>
                <a:lnTo>
                  <a:pt x="465" y="35"/>
                </a:lnTo>
                <a:lnTo>
                  <a:pt x="577" y="25"/>
                </a:lnTo>
                <a:lnTo>
                  <a:pt x="696" y="16"/>
                </a:lnTo>
                <a:lnTo>
                  <a:pt x="824" y="9"/>
                </a:lnTo>
                <a:lnTo>
                  <a:pt x="959" y="4"/>
                </a:lnTo>
                <a:lnTo>
                  <a:pt x="1100"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4">
            <a:extLst>
              <a:ext uri="{FF2B5EF4-FFF2-40B4-BE49-F238E27FC236}">
                <a16:creationId xmlns:a16="http://schemas.microsoft.com/office/drawing/2014/main" id="{DF8F2D9C-C6D5-420E-A6CA-DABA3F278C41}"/>
              </a:ext>
            </a:extLst>
          </p:cNvPr>
          <p:cNvSpPr>
            <a:spLocks/>
          </p:cNvSpPr>
          <p:nvPr/>
        </p:nvSpPr>
        <p:spPr bwMode="auto">
          <a:xfrm>
            <a:off x="4874946" y="3779773"/>
            <a:ext cx="2389576" cy="671924"/>
          </a:xfrm>
          <a:custGeom>
            <a:avLst/>
            <a:gdLst/>
            <a:ahLst/>
            <a:cxnLst>
              <a:cxn ang="0">
                <a:pos x="898" y="0"/>
              </a:cxn>
              <a:cxn ang="0">
                <a:pos x="1154" y="0"/>
              </a:cxn>
              <a:cxn ang="0">
                <a:pos x="1279" y="5"/>
              </a:cxn>
              <a:cxn ang="0">
                <a:pos x="1398" y="9"/>
              </a:cxn>
              <a:cxn ang="0">
                <a:pos x="1510" y="16"/>
              </a:cxn>
              <a:cxn ang="0">
                <a:pos x="1612" y="23"/>
              </a:cxn>
              <a:cxn ang="0">
                <a:pos x="1707" y="35"/>
              </a:cxn>
              <a:cxn ang="0">
                <a:pos x="1794" y="44"/>
              </a:cxn>
              <a:cxn ang="0">
                <a:pos x="1868" y="58"/>
              </a:cxn>
              <a:cxn ang="0">
                <a:pos x="1931" y="72"/>
              </a:cxn>
              <a:cxn ang="0">
                <a:pos x="1982" y="86"/>
              </a:cxn>
              <a:cxn ang="0">
                <a:pos x="2022" y="103"/>
              </a:cxn>
              <a:cxn ang="0">
                <a:pos x="2045" y="119"/>
              </a:cxn>
              <a:cxn ang="0">
                <a:pos x="2052" y="135"/>
              </a:cxn>
              <a:cxn ang="0">
                <a:pos x="2052" y="577"/>
              </a:cxn>
              <a:cxn ang="0">
                <a:pos x="0" y="577"/>
              </a:cxn>
              <a:cxn ang="0">
                <a:pos x="0" y="135"/>
              </a:cxn>
              <a:cxn ang="0">
                <a:pos x="7" y="119"/>
              </a:cxn>
              <a:cxn ang="0">
                <a:pos x="30" y="103"/>
              </a:cxn>
              <a:cxn ang="0">
                <a:pos x="69" y="86"/>
              </a:cxn>
              <a:cxn ang="0">
                <a:pos x="121" y="72"/>
              </a:cxn>
              <a:cxn ang="0">
                <a:pos x="183" y="58"/>
              </a:cxn>
              <a:cxn ang="0">
                <a:pos x="258" y="44"/>
              </a:cxn>
              <a:cxn ang="0">
                <a:pos x="344" y="35"/>
              </a:cxn>
              <a:cxn ang="0">
                <a:pos x="439" y="23"/>
              </a:cxn>
              <a:cxn ang="0">
                <a:pos x="542" y="16"/>
              </a:cxn>
              <a:cxn ang="0">
                <a:pos x="653" y="9"/>
              </a:cxn>
              <a:cxn ang="0">
                <a:pos x="772" y="5"/>
              </a:cxn>
              <a:cxn ang="0">
                <a:pos x="898" y="0"/>
              </a:cxn>
            </a:cxnLst>
            <a:rect l="0" t="0" r="r" b="b"/>
            <a:pathLst>
              <a:path w="2052" h="577">
                <a:moveTo>
                  <a:pt x="898" y="0"/>
                </a:moveTo>
                <a:lnTo>
                  <a:pt x="1154" y="0"/>
                </a:lnTo>
                <a:lnTo>
                  <a:pt x="1279" y="5"/>
                </a:lnTo>
                <a:lnTo>
                  <a:pt x="1398" y="9"/>
                </a:lnTo>
                <a:lnTo>
                  <a:pt x="1510" y="16"/>
                </a:lnTo>
                <a:lnTo>
                  <a:pt x="1612" y="23"/>
                </a:lnTo>
                <a:lnTo>
                  <a:pt x="1707" y="35"/>
                </a:lnTo>
                <a:lnTo>
                  <a:pt x="1794" y="44"/>
                </a:lnTo>
                <a:lnTo>
                  <a:pt x="1868" y="58"/>
                </a:lnTo>
                <a:lnTo>
                  <a:pt x="1931" y="72"/>
                </a:lnTo>
                <a:lnTo>
                  <a:pt x="1982" y="86"/>
                </a:lnTo>
                <a:lnTo>
                  <a:pt x="2022" y="103"/>
                </a:lnTo>
                <a:lnTo>
                  <a:pt x="2045" y="119"/>
                </a:lnTo>
                <a:lnTo>
                  <a:pt x="2052" y="135"/>
                </a:lnTo>
                <a:lnTo>
                  <a:pt x="2052" y="577"/>
                </a:lnTo>
                <a:lnTo>
                  <a:pt x="0" y="577"/>
                </a:lnTo>
                <a:lnTo>
                  <a:pt x="0" y="135"/>
                </a:lnTo>
                <a:lnTo>
                  <a:pt x="7" y="119"/>
                </a:lnTo>
                <a:lnTo>
                  <a:pt x="30" y="103"/>
                </a:lnTo>
                <a:lnTo>
                  <a:pt x="69" y="86"/>
                </a:lnTo>
                <a:lnTo>
                  <a:pt x="121" y="72"/>
                </a:lnTo>
                <a:lnTo>
                  <a:pt x="183" y="58"/>
                </a:lnTo>
                <a:lnTo>
                  <a:pt x="258" y="44"/>
                </a:lnTo>
                <a:lnTo>
                  <a:pt x="344" y="35"/>
                </a:lnTo>
                <a:lnTo>
                  <a:pt x="439" y="23"/>
                </a:lnTo>
                <a:lnTo>
                  <a:pt x="542" y="16"/>
                </a:lnTo>
                <a:lnTo>
                  <a:pt x="653" y="9"/>
                </a:lnTo>
                <a:lnTo>
                  <a:pt x="772" y="5"/>
                </a:lnTo>
                <a:lnTo>
                  <a:pt x="898" y="0"/>
                </a:ln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5">
            <a:extLst>
              <a:ext uri="{FF2B5EF4-FFF2-40B4-BE49-F238E27FC236}">
                <a16:creationId xmlns:a16="http://schemas.microsoft.com/office/drawing/2014/main" id="{8B5BE61E-CDDB-4AE1-9944-013194E926A4}"/>
              </a:ext>
            </a:extLst>
          </p:cNvPr>
          <p:cNvSpPr>
            <a:spLocks/>
          </p:cNvSpPr>
          <p:nvPr/>
        </p:nvSpPr>
        <p:spPr bwMode="auto">
          <a:xfrm>
            <a:off x="4874946" y="4293323"/>
            <a:ext cx="2389576" cy="313253"/>
          </a:xfrm>
          <a:custGeom>
            <a:avLst/>
            <a:gdLst/>
            <a:ahLst/>
            <a:cxnLst>
              <a:cxn ang="0">
                <a:pos x="898" y="0"/>
              </a:cxn>
              <a:cxn ang="0">
                <a:pos x="1154" y="0"/>
              </a:cxn>
              <a:cxn ang="0">
                <a:pos x="1279" y="5"/>
              </a:cxn>
              <a:cxn ang="0">
                <a:pos x="1398" y="10"/>
              </a:cxn>
              <a:cxn ang="0">
                <a:pos x="1510" y="17"/>
              </a:cxn>
              <a:cxn ang="0">
                <a:pos x="1612" y="24"/>
              </a:cxn>
              <a:cxn ang="0">
                <a:pos x="1707" y="35"/>
              </a:cxn>
              <a:cxn ang="0">
                <a:pos x="1794" y="45"/>
              </a:cxn>
              <a:cxn ang="0">
                <a:pos x="1868" y="59"/>
              </a:cxn>
              <a:cxn ang="0">
                <a:pos x="1931" y="73"/>
              </a:cxn>
              <a:cxn ang="0">
                <a:pos x="1982" y="87"/>
              </a:cxn>
              <a:cxn ang="0">
                <a:pos x="2022" y="103"/>
              </a:cxn>
              <a:cxn ang="0">
                <a:pos x="2045" y="119"/>
              </a:cxn>
              <a:cxn ang="0">
                <a:pos x="2052" y="136"/>
              </a:cxn>
              <a:cxn ang="0">
                <a:pos x="2045" y="152"/>
              </a:cxn>
              <a:cxn ang="0">
                <a:pos x="2022" y="168"/>
              </a:cxn>
              <a:cxn ang="0">
                <a:pos x="1982" y="182"/>
              </a:cxn>
              <a:cxn ang="0">
                <a:pos x="1931" y="199"/>
              </a:cxn>
              <a:cxn ang="0">
                <a:pos x="1868" y="210"/>
              </a:cxn>
              <a:cxn ang="0">
                <a:pos x="1794" y="224"/>
              </a:cxn>
              <a:cxn ang="0">
                <a:pos x="1707" y="234"/>
              </a:cxn>
              <a:cxn ang="0">
                <a:pos x="1612" y="245"/>
              </a:cxn>
              <a:cxn ang="0">
                <a:pos x="1510" y="252"/>
              </a:cxn>
              <a:cxn ang="0">
                <a:pos x="1398" y="259"/>
              </a:cxn>
              <a:cxn ang="0">
                <a:pos x="1279" y="264"/>
              </a:cxn>
              <a:cxn ang="0">
                <a:pos x="1154" y="269"/>
              </a:cxn>
              <a:cxn ang="0">
                <a:pos x="898" y="269"/>
              </a:cxn>
              <a:cxn ang="0">
                <a:pos x="772" y="264"/>
              </a:cxn>
              <a:cxn ang="0">
                <a:pos x="653" y="259"/>
              </a:cxn>
              <a:cxn ang="0">
                <a:pos x="542" y="252"/>
              </a:cxn>
              <a:cxn ang="0">
                <a:pos x="439" y="245"/>
              </a:cxn>
              <a:cxn ang="0">
                <a:pos x="344" y="234"/>
              </a:cxn>
              <a:cxn ang="0">
                <a:pos x="258" y="224"/>
              </a:cxn>
              <a:cxn ang="0">
                <a:pos x="183" y="210"/>
              </a:cxn>
              <a:cxn ang="0">
                <a:pos x="121" y="199"/>
              </a:cxn>
              <a:cxn ang="0">
                <a:pos x="69" y="182"/>
              </a:cxn>
              <a:cxn ang="0">
                <a:pos x="30" y="168"/>
              </a:cxn>
              <a:cxn ang="0">
                <a:pos x="7" y="152"/>
              </a:cxn>
              <a:cxn ang="0">
                <a:pos x="0" y="136"/>
              </a:cxn>
              <a:cxn ang="0">
                <a:pos x="7" y="119"/>
              </a:cxn>
              <a:cxn ang="0">
                <a:pos x="30" y="103"/>
              </a:cxn>
              <a:cxn ang="0">
                <a:pos x="69" y="87"/>
              </a:cxn>
              <a:cxn ang="0">
                <a:pos x="121" y="73"/>
              </a:cxn>
              <a:cxn ang="0">
                <a:pos x="183" y="59"/>
              </a:cxn>
              <a:cxn ang="0">
                <a:pos x="258" y="45"/>
              </a:cxn>
              <a:cxn ang="0">
                <a:pos x="344" y="35"/>
              </a:cxn>
              <a:cxn ang="0">
                <a:pos x="439" y="24"/>
              </a:cxn>
              <a:cxn ang="0">
                <a:pos x="542" y="17"/>
              </a:cxn>
              <a:cxn ang="0">
                <a:pos x="653" y="10"/>
              </a:cxn>
              <a:cxn ang="0">
                <a:pos x="772" y="5"/>
              </a:cxn>
              <a:cxn ang="0">
                <a:pos x="898" y="0"/>
              </a:cxn>
            </a:cxnLst>
            <a:rect l="0" t="0" r="r" b="b"/>
            <a:pathLst>
              <a:path w="2052" h="269">
                <a:moveTo>
                  <a:pt x="898" y="0"/>
                </a:moveTo>
                <a:lnTo>
                  <a:pt x="1154" y="0"/>
                </a:lnTo>
                <a:lnTo>
                  <a:pt x="1279" y="5"/>
                </a:lnTo>
                <a:lnTo>
                  <a:pt x="1398" y="10"/>
                </a:lnTo>
                <a:lnTo>
                  <a:pt x="1510" y="17"/>
                </a:lnTo>
                <a:lnTo>
                  <a:pt x="1612" y="24"/>
                </a:lnTo>
                <a:lnTo>
                  <a:pt x="1707" y="35"/>
                </a:lnTo>
                <a:lnTo>
                  <a:pt x="1794" y="45"/>
                </a:lnTo>
                <a:lnTo>
                  <a:pt x="1868" y="59"/>
                </a:lnTo>
                <a:lnTo>
                  <a:pt x="1931" y="73"/>
                </a:lnTo>
                <a:lnTo>
                  <a:pt x="1982" y="87"/>
                </a:lnTo>
                <a:lnTo>
                  <a:pt x="2022" y="103"/>
                </a:lnTo>
                <a:lnTo>
                  <a:pt x="2045" y="119"/>
                </a:lnTo>
                <a:lnTo>
                  <a:pt x="2052" y="136"/>
                </a:lnTo>
                <a:lnTo>
                  <a:pt x="2045" y="152"/>
                </a:lnTo>
                <a:lnTo>
                  <a:pt x="2022" y="168"/>
                </a:lnTo>
                <a:lnTo>
                  <a:pt x="1982" y="182"/>
                </a:lnTo>
                <a:lnTo>
                  <a:pt x="1931" y="199"/>
                </a:lnTo>
                <a:lnTo>
                  <a:pt x="1868" y="210"/>
                </a:lnTo>
                <a:lnTo>
                  <a:pt x="1794" y="224"/>
                </a:lnTo>
                <a:lnTo>
                  <a:pt x="1707" y="234"/>
                </a:lnTo>
                <a:lnTo>
                  <a:pt x="1612" y="245"/>
                </a:lnTo>
                <a:lnTo>
                  <a:pt x="1510" y="252"/>
                </a:lnTo>
                <a:lnTo>
                  <a:pt x="1398" y="259"/>
                </a:lnTo>
                <a:lnTo>
                  <a:pt x="1279" y="264"/>
                </a:lnTo>
                <a:lnTo>
                  <a:pt x="1154" y="269"/>
                </a:lnTo>
                <a:lnTo>
                  <a:pt x="898" y="269"/>
                </a:lnTo>
                <a:lnTo>
                  <a:pt x="772" y="264"/>
                </a:lnTo>
                <a:lnTo>
                  <a:pt x="653" y="259"/>
                </a:lnTo>
                <a:lnTo>
                  <a:pt x="542" y="252"/>
                </a:lnTo>
                <a:lnTo>
                  <a:pt x="439" y="245"/>
                </a:lnTo>
                <a:lnTo>
                  <a:pt x="344" y="234"/>
                </a:lnTo>
                <a:lnTo>
                  <a:pt x="258" y="224"/>
                </a:lnTo>
                <a:lnTo>
                  <a:pt x="183" y="210"/>
                </a:lnTo>
                <a:lnTo>
                  <a:pt x="121" y="199"/>
                </a:lnTo>
                <a:lnTo>
                  <a:pt x="69" y="182"/>
                </a:lnTo>
                <a:lnTo>
                  <a:pt x="30" y="168"/>
                </a:lnTo>
                <a:lnTo>
                  <a:pt x="7" y="152"/>
                </a:lnTo>
                <a:lnTo>
                  <a:pt x="0" y="136"/>
                </a:lnTo>
                <a:lnTo>
                  <a:pt x="7" y="119"/>
                </a:lnTo>
                <a:lnTo>
                  <a:pt x="30" y="103"/>
                </a:lnTo>
                <a:lnTo>
                  <a:pt x="69" y="87"/>
                </a:lnTo>
                <a:lnTo>
                  <a:pt x="121" y="73"/>
                </a:lnTo>
                <a:lnTo>
                  <a:pt x="183" y="59"/>
                </a:lnTo>
                <a:lnTo>
                  <a:pt x="258" y="45"/>
                </a:lnTo>
                <a:lnTo>
                  <a:pt x="344" y="35"/>
                </a:lnTo>
                <a:lnTo>
                  <a:pt x="439" y="24"/>
                </a:lnTo>
                <a:lnTo>
                  <a:pt x="542" y="17"/>
                </a:lnTo>
                <a:lnTo>
                  <a:pt x="653" y="10"/>
                </a:lnTo>
                <a:lnTo>
                  <a:pt x="772" y="5"/>
                </a:lnTo>
                <a:lnTo>
                  <a:pt x="898"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6">
            <a:extLst>
              <a:ext uri="{FF2B5EF4-FFF2-40B4-BE49-F238E27FC236}">
                <a16:creationId xmlns:a16="http://schemas.microsoft.com/office/drawing/2014/main" id="{2B937D59-C264-4807-919D-50F2812E1036}"/>
              </a:ext>
            </a:extLst>
          </p:cNvPr>
          <p:cNvSpPr>
            <a:spLocks/>
          </p:cNvSpPr>
          <p:nvPr/>
        </p:nvSpPr>
        <p:spPr bwMode="auto">
          <a:xfrm>
            <a:off x="5091545" y="4505264"/>
            <a:ext cx="1931923" cy="631166"/>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6"/>
              </a:cxn>
              <a:cxn ang="0">
                <a:pos x="1628" y="80"/>
              </a:cxn>
              <a:cxn ang="0">
                <a:pos x="1652" y="94"/>
              </a:cxn>
              <a:cxn ang="0">
                <a:pos x="1659" y="108"/>
              </a:cxn>
              <a:cxn ang="0">
                <a:pos x="1659" y="542"/>
              </a:cxn>
              <a:cxn ang="0">
                <a:pos x="0" y="542"/>
              </a:cxn>
              <a:cxn ang="0">
                <a:pos x="0" y="108"/>
              </a:cxn>
              <a:cxn ang="0">
                <a:pos x="7" y="94"/>
              </a:cxn>
              <a:cxn ang="0">
                <a:pos x="30" y="80"/>
              </a:cxn>
              <a:cxn ang="0">
                <a:pos x="65" y="66"/>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542">
                <a:moveTo>
                  <a:pt x="719" y="0"/>
                </a:moveTo>
                <a:lnTo>
                  <a:pt x="942" y="0"/>
                </a:lnTo>
                <a:lnTo>
                  <a:pt x="1051" y="5"/>
                </a:lnTo>
                <a:lnTo>
                  <a:pt x="1154" y="10"/>
                </a:lnTo>
                <a:lnTo>
                  <a:pt x="1249" y="14"/>
                </a:lnTo>
                <a:lnTo>
                  <a:pt x="1338" y="24"/>
                </a:lnTo>
                <a:lnTo>
                  <a:pt x="1417" y="33"/>
                </a:lnTo>
                <a:lnTo>
                  <a:pt x="1487" y="42"/>
                </a:lnTo>
                <a:lnTo>
                  <a:pt x="1545" y="54"/>
                </a:lnTo>
                <a:lnTo>
                  <a:pt x="1594" y="66"/>
                </a:lnTo>
                <a:lnTo>
                  <a:pt x="1628" y="80"/>
                </a:lnTo>
                <a:lnTo>
                  <a:pt x="1652" y="94"/>
                </a:lnTo>
                <a:lnTo>
                  <a:pt x="1659" y="108"/>
                </a:lnTo>
                <a:lnTo>
                  <a:pt x="1659" y="542"/>
                </a:lnTo>
                <a:lnTo>
                  <a:pt x="0" y="542"/>
                </a:lnTo>
                <a:lnTo>
                  <a:pt x="0" y="108"/>
                </a:lnTo>
                <a:lnTo>
                  <a:pt x="7" y="94"/>
                </a:lnTo>
                <a:lnTo>
                  <a:pt x="30" y="80"/>
                </a:lnTo>
                <a:lnTo>
                  <a:pt x="65" y="66"/>
                </a:lnTo>
                <a:lnTo>
                  <a:pt x="114" y="54"/>
                </a:lnTo>
                <a:lnTo>
                  <a:pt x="172" y="42"/>
                </a:lnTo>
                <a:lnTo>
                  <a:pt x="244" y="33"/>
                </a:lnTo>
                <a:lnTo>
                  <a:pt x="323" y="24"/>
                </a:lnTo>
                <a:lnTo>
                  <a:pt x="412" y="14"/>
                </a:lnTo>
                <a:lnTo>
                  <a:pt x="507" y="10"/>
                </a:lnTo>
                <a:lnTo>
                  <a:pt x="609" y="5"/>
                </a:lnTo>
                <a:lnTo>
                  <a:pt x="719"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7">
            <a:extLst>
              <a:ext uri="{FF2B5EF4-FFF2-40B4-BE49-F238E27FC236}">
                <a16:creationId xmlns:a16="http://schemas.microsoft.com/office/drawing/2014/main" id="{481A89CF-0D73-491D-8282-F8F0DCC1BB60}"/>
              </a:ext>
            </a:extLst>
          </p:cNvPr>
          <p:cNvSpPr>
            <a:spLocks/>
          </p:cNvSpPr>
          <p:nvPr/>
        </p:nvSpPr>
        <p:spPr bwMode="auto">
          <a:xfrm>
            <a:off x="5091545" y="5008333"/>
            <a:ext cx="1931923" cy="256193"/>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8"/>
              </a:cxn>
              <a:cxn ang="0">
                <a:pos x="1628" y="80"/>
              </a:cxn>
              <a:cxn ang="0">
                <a:pos x="1652" y="96"/>
              </a:cxn>
              <a:cxn ang="0">
                <a:pos x="1659" y="110"/>
              </a:cxn>
              <a:cxn ang="0">
                <a:pos x="1652" y="124"/>
              </a:cxn>
              <a:cxn ang="0">
                <a:pos x="1628" y="140"/>
              </a:cxn>
              <a:cxn ang="0">
                <a:pos x="1594" y="152"/>
              </a:cxn>
              <a:cxn ang="0">
                <a:pos x="1545" y="166"/>
              </a:cxn>
              <a:cxn ang="0">
                <a:pos x="1487" y="178"/>
              </a:cxn>
              <a:cxn ang="0">
                <a:pos x="1417" y="187"/>
              </a:cxn>
              <a:cxn ang="0">
                <a:pos x="1338" y="196"/>
              </a:cxn>
              <a:cxn ang="0">
                <a:pos x="1249" y="206"/>
              </a:cxn>
              <a:cxn ang="0">
                <a:pos x="1154" y="210"/>
              </a:cxn>
              <a:cxn ang="0">
                <a:pos x="1051" y="215"/>
              </a:cxn>
              <a:cxn ang="0">
                <a:pos x="942" y="220"/>
              </a:cxn>
              <a:cxn ang="0">
                <a:pos x="719" y="220"/>
              </a:cxn>
              <a:cxn ang="0">
                <a:pos x="609" y="215"/>
              </a:cxn>
              <a:cxn ang="0">
                <a:pos x="507" y="210"/>
              </a:cxn>
              <a:cxn ang="0">
                <a:pos x="412" y="206"/>
              </a:cxn>
              <a:cxn ang="0">
                <a:pos x="323" y="196"/>
              </a:cxn>
              <a:cxn ang="0">
                <a:pos x="244" y="187"/>
              </a:cxn>
              <a:cxn ang="0">
                <a:pos x="172" y="178"/>
              </a:cxn>
              <a:cxn ang="0">
                <a:pos x="114" y="166"/>
              </a:cxn>
              <a:cxn ang="0">
                <a:pos x="65" y="152"/>
              </a:cxn>
              <a:cxn ang="0">
                <a:pos x="30" y="140"/>
              </a:cxn>
              <a:cxn ang="0">
                <a:pos x="7" y="124"/>
              </a:cxn>
              <a:cxn ang="0">
                <a:pos x="0" y="110"/>
              </a:cxn>
              <a:cxn ang="0">
                <a:pos x="7" y="96"/>
              </a:cxn>
              <a:cxn ang="0">
                <a:pos x="30" y="80"/>
              </a:cxn>
              <a:cxn ang="0">
                <a:pos x="65" y="68"/>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220">
                <a:moveTo>
                  <a:pt x="719" y="0"/>
                </a:moveTo>
                <a:lnTo>
                  <a:pt x="942" y="0"/>
                </a:lnTo>
                <a:lnTo>
                  <a:pt x="1051" y="5"/>
                </a:lnTo>
                <a:lnTo>
                  <a:pt x="1154" y="10"/>
                </a:lnTo>
                <a:lnTo>
                  <a:pt x="1249" y="14"/>
                </a:lnTo>
                <a:lnTo>
                  <a:pt x="1338" y="24"/>
                </a:lnTo>
                <a:lnTo>
                  <a:pt x="1417" y="33"/>
                </a:lnTo>
                <a:lnTo>
                  <a:pt x="1487" y="42"/>
                </a:lnTo>
                <a:lnTo>
                  <a:pt x="1545" y="54"/>
                </a:lnTo>
                <a:lnTo>
                  <a:pt x="1594" y="68"/>
                </a:lnTo>
                <a:lnTo>
                  <a:pt x="1628" y="80"/>
                </a:lnTo>
                <a:lnTo>
                  <a:pt x="1652" y="96"/>
                </a:lnTo>
                <a:lnTo>
                  <a:pt x="1659" y="110"/>
                </a:lnTo>
                <a:lnTo>
                  <a:pt x="1652" y="124"/>
                </a:lnTo>
                <a:lnTo>
                  <a:pt x="1628" y="140"/>
                </a:lnTo>
                <a:lnTo>
                  <a:pt x="1594" y="152"/>
                </a:lnTo>
                <a:lnTo>
                  <a:pt x="1545" y="166"/>
                </a:lnTo>
                <a:lnTo>
                  <a:pt x="1487" y="178"/>
                </a:lnTo>
                <a:lnTo>
                  <a:pt x="1417" y="187"/>
                </a:lnTo>
                <a:lnTo>
                  <a:pt x="1338" y="196"/>
                </a:lnTo>
                <a:lnTo>
                  <a:pt x="1249" y="206"/>
                </a:lnTo>
                <a:lnTo>
                  <a:pt x="1154" y="210"/>
                </a:lnTo>
                <a:lnTo>
                  <a:pt x="1051" y="215"/>
                </a:lnTo>
                <a:lnTo>
                  <a:pt x="942" y="220"/>
                </a:lnTo>
                <a:lnTo>
                  <a:pt x="719" y="220"/>
                </a:lnTo>
                <a:lnTo>
                  <a:pt x="609" y="215"/>
                </a:lnTo>
                <a:lnTo>
                  <a:pt x="507" y="210"/>
                </a:lnTo>
                <a:lnTo>
                  <a:pt x="412" y="206"/>
                </a:lnTo>
                <a:lnTo>
                  <a:pt x="323" y="196"/>
                </a:lnTo>
                <a:lnTo>
                  <a:pt x="244" y="187"/>
                </a:lnTo>
                <a:lnTo>
                  <a:pt x="172" y="178"/>
                </a:lnTo>
                <a:lnTo>
                  <a:pt x="114" y="166"/>
                </a:lnTo>
                <a:lnTo>
                  <a:pt x="65" y="152"/>
                </a:lnTo>
                <a:lnTo>
                  <a:pt x="30" y="140"/>
                </a:lnTo>
                <a:lnTo>
                  <a:pt x="7" y="124"/>
                </a:lnTo>
                <a:lnTo>
                  <a:pt x="0" y="110"/>
                </a:lnTo>
                <a:lnTo>
                  <a:pt x="7" y="96"/>
                </a:lnTo>
                <a:lnTo>
                  <a:pt x="30" y="80"/>
                </a:lnTo>
                <a:lnTo>
                  <a:pt x="65" y="68"/>
                </a:lnTo>
                <a:lnTo>
                  <a:pt x="114" y="54"/>
                </a:lnTo>
                <a:lnTo>
                  <a:pt x="172" y="42"/>
                </a:lnTo>
                <a:lnTo>
                  <a:pt x="244" y="33"/>
                </a:lnTo>
                <a:lnTo>
                  <a:pt x="323" y="24"/>
                </a:lnTo>
                <a:lnTo>
                  <a:pt x="412" y="14"/>
                </a:lnTo>
                <a:lnTo>
                  <a:pt x="507" y="10"/>
                </a:lnTo>
                <a:lnTo>
                  <a:pt x="609" y="5"/>
                </a:lnTo>
                <a:lnTo>
                  <a:pt x="719"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8">
            <a:extLst>
              <a:ext uri="{FF2B5EF4-FFF2-40B4-BE49-F238E27FC236}">
                <a16:creationId xmlns:a16="http://schemas.microsoft.com/office/drawing/2014/main" id="{87F524F2-DB0A-497B-A015-6AB8BB50C7DC}"/>
              </a:ext>
            </a:extLst>
          </p:cNvPr>
          <p:cNvSpPr>
            <a:spLocks/>
          </p:cNvSpPr>
          <p:nvPr/>
        </p:nvSpPr>
        <p:spPr bwMode="auto">
          <a:xfrm>
            <a:off x="5326776" y="5220273"/>
            <a:ext cx="1468448" cy="610204"/>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1"/>
              </a:cxn>
              <a:cxn ang="0">
                <a:pos x="1261" y="85"/>
              </a:cxn>
              <a:cxn ang="0">
                <a:pos x="1261" y="524"/>
              </a:cxn>
              <a:cxn ang="0">
                <a:pos x="0" y="524"/>
              </a:cxn>
              <a:cxn ang="0">
                <a:pos x="0" y="85"/>
              </a:cxn>
              <a:cxn ang="0">
                <a:pos x="10" y="71"/>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524">
                <a:moveTo>
                  <a:pt x="528" y="0"/>
                </a:moveTo>
                <a:lnTo>
                  <a:pt x="733" y="0"/>
                </a:lnTo>
                <a:lnTo>
                  <a:pt x="831" y="5"/>
                </a:lnTo>
                <a:lnTo>
                  <a:pt x="922" y="10"/>
                </a:lnTo>
                <a:lnTo>
                  <a:pt x="1003" y="17"/>
                </a:lnTo>
                <a:lnTo>
                  <a:pt x="1077" y="26"/>
                </a:lnTo>
                <a:lnTo>
                  <a:pt x="1140" y="35"/>
                </a:lnTo>
                <a:lnTo>
                  <a:pt x="1191" y="45"/>
                </a:lnTo>
                <a:lnTo>
                  <a:pt x="1229" y="59"/>
                </a:lnTo>
                <a:lnTo>
                  <a:pt x="1252" y="71"/>
                </a:lnTo>
                <a:lnTo>
                  <a:pt x="1261" y="85"/>
                </a:lnTo>
                <a:lnTo>
                  <a:pt x="1261" y="524"/>
                </a:lnTo>
                <a:lnTo>
                  <a:pt x="0" y="524"/>
                </a:lnTo>
                <a:lnTo>
                  <a:pt x="0" y="85"/>
                </a:lnTo>
                <a:lnTo>
                  <a:pt x="10" y="71"/>
                </a:lnTo>
                <a:lnTo>
                  <a:pt x="33" y="59"/>
                </a:lnTo>
                <a:lnTo>
                  <a:pt x="70" y="45"/>
                </a:lnTo>
                <a:lnTo>
                  <a:pt x="121" y="35"/>
                </a:lnTo>
                <a:lnTo>
                  <a:pt x="186" y="26"/>
                </a:lnTo>
                <a:lnTo>
                  <a:pt x="258" y="17"/>
                </a:lnTo>
                <a:lnTo>
                  <a:pt x="342" y="10"/>
                </a:lnTo>
                <a:lnTo>
                  <a:pt x="433" y="5"/>
                </a:lnTo>
                <a:lnTo>
                  <a:pt x="528"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9">
            <a:extLst>
              <a:ext uri="{FF2B5EF4-FFF2-40B4-BE49-F238E27FC236}">
                <a16:creationId xmlns:a16="http://schemas.microsoft.com/office/drawing/2014/main" id="{1C7F0B0F-3163-40F7-B092-B169DE5DF34F}"/>
              </a:ext>
            </a:extLst>
          </p:cNvPr>
          <p:cNvSpPr>
            <a:spLocks/>
          </p:cNvSpPr>
          <p:nvPr/>
        </p:nvSpPr>
        <p:spPr bwMode="auto">
          <a:xfrm>
            <a:off x="5326776" y="5731494"/>
            <a:ext cx="1468448" cy="193309"/>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0"/>
              </a:cxn>
              <a:cxn ang="0">
                <a:pos x="1261" y="85"/>
              </a:cxn>
              <a:cxn ang="0">
                <a:pos x="1252" y="99"/>
              </a:cxn>
              <a:cxn ang="0">
                <a:pos x="1229" y="110"/>
              </a:cxn>
              <a:cxn ang="0">
                <a:pos x="1191" y="122"/>
              </a:cxn>
              <a:cxn ang="0">
                <a:pos x="1140" y="134"/>
              </a:cxn>
              <a:cxn ang="0">
                <a:pos x="1077" y="143"/>
              </a:cxn>
              <a:cxn ang="0">
                <a:pos x="1003" y="150"/>
              </a:cxn>
              <a:cxn ang="0">
                <a:pos x="922" y="157"/>
              </a:cxn>
              <a:cxn ang="0">
                <a:pos x="831" y="162"/>
              </a:cxn>
              <a:cxn ang="0">
                <a:pos x="733" y="166"/>
              </a:cxn>
              <a:cxn ang="0">
                <a:pos x="528" y="166"/>
              </a:cxn>
              <a:cxn ang="0">
                <a:pos x="433" y="162"/>
              </a:cxn>
              <a:cxn ang="0">
                <a:pos x="342" y="157"/>
              </a:cxn>
              <a:cxn ang="0">
                <a:pos x="258" y="150"/>
              </a:cxn>
              <a:cxn ang="0">
                <a:pos x="186" y="143"/>
              </a:cxn>
              <a:cxn ang="0">
                <a:pos x="121" y="134"/>
              </a:cxn>
              <a:cxn ang="0">
                <a:pos x="70" y="122"/>
              </a:cxn>
              <a:cxn ang="0">
                <a:pos x="33" y="110"/>
              </a:cxn>
              <a:cxn ang="0">
                <a:pos x="10" y="99"/>
              </a:cxn>
              <a:cxn ang="0">
                <a:pos x="0" y="85"/>
              </a:cxn>
              <a:cxn ang="0">
                <a:pos x="10" y="70"/>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166">
                <a:moveTo>
                  <a:pt x="528" y="0"/>
                </a:moveTo>
                <a:lnTo>
                  <a:pt x="733" y="0"/>
                </a:lnTo>
                <a:lnTo>
                  <a:pt x="831" y="5"/>
                </a:lnTo>
                <a:lnTo>
                  <a:pt x="922" y="10"/>
                </a:lnTo>
                <a:lnTo>
                  <a:pt x="1003" y="17"/>
                </a:lnTo>
                <a:lnTo>
                  <a:pt x="1077" y="26"/>
                </a:lnTo>
                <a:lnTo>
                  <a:pt x="1140" y="35"/>
                </a:lnTo>
                <a:lnTo>
                  <a:pt x="1191" y="45"/>
                </a:lnTo>
                <a:lnTo>
                  <a:pt x="1229" y="59"/>
                </a:lnTo>
                <a:lnTo>
                  <a:pt x="1252" y="70"/>
                </a:lnTo>
                <a:lnTo>
                  <a:pt x="1261" y="85"/>
                </a:lnTo>
                <a:lnTo>
                  <a:pt x="1252" y="99"/>
                </a:lnTo>
                <a:lnTo>
                  <a:pt x="1229" y="110"/>
                </a:lnTo>
                <a:lnTo>
                  <a:pt x="1191" y="122"/>
                </a:lnTo>
                <a:lnTo>
                  <a:pt x="1140" y="134"/>
                </a:lnTo>
                <a:lnTo>
                  <a:pt x="1077" y="143"/>
                </a:lnTo>
                <a:lnTo>
                  <a:pt x="1003" y="150"/>
                </a:lnTo>
                <a:lnTo>
                  <a:pt x="922" y="157"/>
                </a:lnTo>
                <a:lnTo>
                  <a:pt x="831" y="162"/>
                </a:lnTo>
                <a:lnTo>
                  <a:pt x="733" y="166"/>
                </a:lnTo>
                <a:lnTo>
                  <a:pt x="528" y="166"/>
                </a:lnTo>
                <a:lnTo>
                  <a:pt x="433" y="162"/>
                </a:lnTo>
                <a:lnTo>
                  <a:pt x="342" y="157"/>
                </a:lnTo>
                <a:lnTo>
                  <a:pt x="258" y="150"/>
                </a:lnTo>
                <a:lnTo>
                  <a:pt x="186" y="143"/>
                </a:lnTo>
                <a:lnTo>
                  <a:pt x="121" y="134"/>
                </a:lnTo>
                <a:lnTo>
                  <a:pt x="70" y="122"/>
                </a:lnTo>
                <a:lnTo>
                  <a:pt x="33" y="110"/>
                </a:lnTo>
                <a:lnTo>
                  <a:pt x="10" y="99"/>
                </a:lnTo>
                <a:lnTo>
                  <a:pt x="0" y="85"/>
                </a:lnTo>
                <a:lnTo>
                  <a:pt x="10" y="70"/>
                </a:lnTo>
                <a:lnTo>
                  <a:pt x="33" y="59"/>
                </a:lnTo>
                <a:lnTo>
                  <a:pt x="70" y="45"/>
                </a:lnTo>
                <a:lnTo>
                  <a:pt x="121" y="35"/>
                </a:lnTo>
                <a:lnTo>
                  <a:pt x="186" y="26"/>
                </a:lnTo>
                <a:lnTo>
                  <a:pt x="258" y="17"/>
                </a:lnTo>
                <a:lnTo>
                  <a:pt x="342" y="10"/>
                </a:lnTo>
                <a:lnTo>
                  <a:pt x="433" y="5"/>
                </a:lnTo>
                <a:lnTo>
                  <a:pt x="52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3" name="Group 52">
            <a:extLst>
              <a:ext uri="{FF2B5EF4-FFF2-40B4-BE49-F238E27FC236}">
                <a16:creationId xmlns:a16="http://schemas.microsoft.com/office/drawing/2014/main" id="{0A5325EB-E675-41A1-82F8-6A8AE32555E7}"/>
              </a:ext>
            </a:extLst>
          </p:cNvPr>
          <p:cNvGrpSpPr/>
          <p:nvPr/>
        </p:nvGrpSpPr>
        <p:grpSpPr>
          <a:xfrm>
            <a:off x="4989375" y="2319215"/>
            <a:ext cx="2159566" cy="3321000"/>
            <a:chOff x="4947792" y="1658256"/>
            <a:chExt cx="2566707" cy="3947104"/>
          </a:xfrm>
        </p:grpSpPr>
        <p:sp>
          <p:nvSpPr>
            <p:cNvPr id="54" name="TextBox 14">
              <a:extLst>
                <a:ext uri="{FF2B5EF4-FFF2-40B4-BE49-F238E27FC236}">
                  <a16:creationId xmlns:a16="http://schemas.microsoft.com/office/drawing/2014/main" id="{3049FC8B-EC07-4FAB-9A2A-E25F30FAD3DB}"/>
                </a:ext>
              </a:extLst>
            </p:cNvPr>
            <p:cNvSpPr txBox="1"/>
            <p:nvPr/>
          </p:nvSpPr>
          <p:spPr>
            <a:xfrm>
              <a:off x="4947792" y="1658256"/>
              <a:ext cx="2566707" cy="438962"/>
            </a:xfrm>
            <a:prstGeom prst="rect">
              <a:avLst/>
            </a:prstGeom>
            <a:noFill/>
            <a:effectLst/>
          </p:spPr>
          <p:txBody>
            <a:bodyPr wrap="none" rtlCol="0">
              <a:spAutoFit/>
            </a:bodyPr>
            <a:lstStyle/>
            <a:p>
              <a:pPr algn="ctr"/>
              <a:r>
                <a:rPr lang="en-US" sz="1800" dirty="0">
                  <a:solidFill>
                    <a:schemeClr val="bg1"/>
                  </a:solidFill>
                  <a:cs typeface="Arial" pitchFamily="34" charset="0"/>
                </a:rPr>
                <a:t>Strategic alignment</a:t>
              </a:r>
            </a:p>
          </p:txBody>
        </p:sp>
        <p:sp>
          <p:nvSpPr>
            <p:cNvPr id="55" name="TextBox 54">
              <a:extLst>
                <a:ext uri="{FF2B5EF4-FFF2-40B4-BE49-F238E27FC236}">
                  <a16:creationId xmlns:a16="http://schemas.microsoft.com/office/drawing/2014/main" id="{B6BBF957-02CB-4753-8A2A-72CFCA193CD0}"/>
                </a:ext>
              </a:extLst>
            </p:cNvPr>
            <p:cNvSpPr txBox="1"/>
            <p:nvPr/>
          </p:nvSpPr>
          <p:spPr>
            <a:xfrm>
              <a:off x="5572703" y="2590799"/>
              <a:ext cx="1316887" cy="438962"/>
            </a:xfrm>
            <a:prstGeom prst="rect">
              <a:avLst/>
            </a:prstGeom>
            <a:noFill/>
            <a:effectLst/>
          </p:spPr>
          <p:txBody>
            <a:bodyPr wrap="none" rtlCol="0">
              <a:spAutoFit/>
            </a:bodyPr>
            <a:lstStyle/>
            <a:p>
              <a:pPr algn="ctr"/>
              <a:r>
                <a:rPr lang="en-US" sz="1800" dirty="0">
                  <a:solidFill>
                    <a:schemeClr val="bg1"/>
                  </a:solidFill>
                  <a:cs typeface="Arial" pitchFamily="34" charset="0"/>
                </a:rPr>
                <a:t>Revenue</a:t>
              </a:r>
            </a:p>
          </p:txBody>
        </p:sp>
        <p:sp>
          <p:nvSpPr>
            <p:cNvPr id="56" name="TextBox 55">
              <a:extLst>
                <a:ext uri="{FF2B5EF4-FFF2-40B4-BE49-F238E27FC236}">
                  <a16:creationId xmlns:a16="http://schemas.microsoft.com/office/drawing/2014/main" id="{021B3EC8-FEE0-4DE5-A9ED-9B096D09C664}"/>
                </a:ext>
              </a:extLst>
            </p:cNvPr>
            <p:cNvSpPr txBox="1"/>
            <p:nvPr/>
          </p:nvSpPr>
          <p:spPr>
            <a:xfrm>
              <a:off x="5702254" y="3519714"/>
              <a:ext cx="1057777" cy="438962"/>
            </a:xfrm>
            <a:prstGeom prst="rect">
              <a:avLst/>
            </a:prstGeom>
            <a:noFill/>
            <a:effectLst/>
          </p:spPr>
          <p:txBody>
            <a:bodyPr wrap="none" rtlCol="0">
              <a:spAutoFit/>
            </a:bodyPr>
            <a:lstStyle/>
            <a:p>
              <a:pPr algn="ctr"/>
              <a:r>
                <a:rPr lang="en-US" sz="1800" dirty="0">
                  <a:solidFill>
                    <a:schemeClr val="bg1"/>
                  </a:solidFill>
                  <a:cs typeface="Arial" pitchFamily="34" charset="0"/>
                </a:rPr>
                <a:t>Market</a:t>
              </a:r>
            </a:p>
          </p:txBody>
        </p:sp>
        <p:sp>
          <p:nvSpPr>
            <p:cNvPr id="57" name="TextBox 56">
              <a:extLst>
                <a:ext uri="{FF2B5EF4-FFF2-40B4-BE49-F238E27FC236}">
                  <a16:creationId xmlns:a16="http://schemas.microsoft.com/office/drawing/2014/main" id="{60A302CD-8BA3-4164-A028-36B7D833D215}"/>
                </a:ext>
              </a:extLst>
            </p:cNvPr>
            <p:cNvSpPr txBox="1"/>
            <p:nvPr/>
          </p:nvSpPr>
          <p:spPr>
            <a:xfrm>
              <a:off x="5450768" y="4372428"/>
              <a:ext cx="1560753" cy="438962"/>
            </a:xfrm>
            <a:prstGeom prst="rect">
              <a:avLst/>
            </a:prstGeom>
            <a:noFill/>
            <a:effectLst/>
          </p:spPr>
          <p:txBody>
            <a:bodyPr wrap="none" rtlCol="0">
              <a:spAutoFit/>
            </a:bodyPr>
            <a:lstStyle/>
            <a:p>
              <a:pPr algn="ctr"/>
              <a:r>
                <a:rPr lang="en-US" dirty="0">
                  <a:solidFill>
                    <a:schemeClr val="bg1"/>
                  </a:solidFill>
                  <a:cs typeface="Arial" pitchFamily="34" charset="0"/>
                </a:rPr>
                <a:t>Positioning</a:t>
              </a:r>
            </a:p>
          </p:txBody>
        </p:sp>
        <p:sp>
          <p:nvSpPr>
            <p:cNvPr id="58" name="TextBox 57">
              <a:extLst>
                <a:ext uri="{FF2B5EF4-FFF2-40B4-BE49-F238E27FC236}">
                  <a16:creationId xmlns:a16="http://schemas.microsoft.com/office/drawing/2014/main" id="{39B1B9DF-818B-4061-B61E-D8FD2EB8FCA5}"/>
                </a:ext>
              </a:extLst>
            </p:cNvPr>
            <p:cNvSpPr txBox="1"/>
            <p:nvPr/>
          </p:nvSpPr>
          <p:spPr>
            <a:xfrm>
              <a:off x="5529664" y="5236028"/>
              <a:ext cx="1402948" cy="369332"/>
            </a:xfrm>
            <a:prstGeom prst="rect">
              <a:avLst/>
            </a:prstGeom>
            <a:no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stStyle>
            <a:p>
              <a:pPr algn="ctr"/>
              <a:r>
                <a:rPr lang="en-US" dirty="0">
                  <a:solidFill>
                    <a:schemeClr val="bg1"/>
                  </a:solidFill>
                  <a:cs typeface="Arial" pitchFamily="34" charset="0"/>
                </a:rPr>
                <a:t>Risk</a:t>
              </a:r>
            </a:p>
          </p:txBody>
        </p:sp>
      </p:grpSp>
      <p:sp>
        <p:nvSpPr>
          <p:cNvPr id="59" name="TextBox 58">
            <a:extLst>
              <a:ext uri="{FF2B5EF4-FFF2-40B4-BE49-F238E27FC236}">
                <a16:creationId xmlns:a16="http://schemas.microsoft.com/office/drawing/2014/main" id="{47D07FE2-2696-4C97-8F35-2CE77D3847CA}"/>
              </a:ext>
            </a:extLst>
          </p:cNvPr>
          <p:cNvSpPr txBox="1"/>
          <p:nvPr/>
        </p:nvSpPr>
        <p:spPr>
          <a:xfrm>
            <a:off x="8282225" y="2293414"/>
            <a:ext cx="3642169" cy="738664"/>
          </a:xfrm>
          <a:prstGeom prst="rect">
            <a:avLst/>
          </a:prstGeom>
          <a:noFill/>
        </p:spPr>
        <p:txBody>
          <a:bodyPr wrap="square" rtlCol="0">
            <a:spAutoFit/>
          </a:bodyPr>
          <a:lstStyle/>
          <a:p>
            <a:r>
              <a:rPr lang="en-US" sz="1400" b="1" kern="0" dirty="0">
                <a:cs typeface="Arial" pitchFamily="34" charset="0"/>
              </a:rPr>
              <a:t>The acquisition of the target company needs to help us reach at least one of our M&amp;A strategic objectives</a:t>
            </a:r>
            <a:endParaRPr lang="en-US" sz="1400" b="1" dirty="0"/>
          </a:p>
        </p:txBody>
      </p:sp>
      <p:sp>
        <p:nvSpPr>
          <p:cNvPr id="60" name="TextBox 59">
            <a:extLst>
              <a:ext uri="{FF2B5EF4-FFF2-40B4-BE49-F238E27FC236}">
                <a16:creationId xmlns:a16="http://schemas.microsoft.com/office/drawing/2014/main" id="{EC994E38-37BF-4241-ADAB-2AE4B667994E}"/>
              </a:ext>
            </a:extLst>
          </p:cNvPr>
          <p:cNvSpPr txBox="1"/>
          <p:nvPr/>
        </p:nvSpPr>
        <p:spPr>
          <a:xfrm>
            <a:off x="8282225" y="3903663"/>
            <a:ext cx="3304937" cy="523220"/>
          </a:xfrm>
          <a:prstGeom prst="rect">
            <a:avLst/>
          </a:prstGeom>
          <a:noFill/>
        </p:spPr>
        <p:txBody>
          <a:bodyPr wrap="square" rtlCol="0">
            <a:spAutoFit/>
          </a:bodyPr>
          <a:lstStyle/>
          <a:p>
            <a:r>
              <a:rPr lang="en-US" sz="1400" b="1" kern="0" dirty="0">
                <a:cs typeface="Arial" pitchFamily="34" charset="0"/>
              </a:rPr>
              <a:t>The target company needs to sell its products mainly in the Asian market</a:t>
            </a:r>
            <a:endParaRPr lang="en-US" sz="1400" b="1" dirty="0"/>
          </a:p>
        </p:txBody>
      </p:sp>
      <p:sp>
        <p:nvSpPr>
          <p:cNvPr id="61" name="TextBox 60">
            <a:extLst>
              <a:ext uri="{FF2B5EF4-FFF2-40B4-BE49-F238E27FC236}">
                <a16:creationId xmlns:a16="http://schemas.microsoft.com/office/drawing/2014/main" id="{63F7EB39-9B80-4769-B09D-ECBBC2A6CE88}"/>
              </a:ext>
            </a:extLst>
          </p:cNvPr>
          <p:cNvSpPr txBox="1"/>
          <p:nvPr/>
        </p:nvSpPr>
        <p:spPr>
          <a:xfrm>
            <a:off x="8282226" y="5249520"/>
            <a:ext cx="3304936" cy="738664"/>
          </a:xfrm>
          <a:prstGeom prst="rect">
            <a:avLst/>
          </a:prstGeom>
          <a:noFill/>
        </p:spPr>
        <p:txBody>
          <a:bodyPr wrap="square" rtlCol="0">
            <a:spAutoFit/>
          </a:bodyPr>
          <a:lstStyle/>
          <a:p>
            <a:r>
              <a:rPr lang="en-GB" sz="1400" b="1" kern="0" dirty="0">
                <a:cs typeface="Arial" pitchFamily="34" charset="0"/>
              </a:rPr>
              <a:t>Acceptable impact on the Group’s financial and non-financial risk profile</a:t>
            </a:r>
            <a:endParaRPr lang="en-US" sz="1400" b="1" dirty="0"/>
          </a:p>
        </p:txBody>
      </p:sp>
      <p:sp>
        <p:nvSpPr>
          <p:cNvPr id="62" name="TextBox 61">
            <a:extLst>
              <a:ext uri="{FF2B5EF4-FFF2-40B4-BE49-F238E27FC236}">
                <a16:creationId xmlns:a16="http://schemas.microsoft.com/office/drawing/2014/main" id="{066FFD46-14D4-43F4-A930-149DC8CEE749}"/>
              </a:ext>
            </a:extLst>
          </p:cNvPr>
          <p:cNvSpPr txBox="1"/>
          <p:nvPr/>
        </p:nvSpPr>
        <p:spPr>
          <a:xfrm>
            <a:off x="1010142" y="3075109"/>
            <a:ext cx="2899632" cy="523220"/>
          </a:xfrm>
          <a:prstGeom prst="rect">
            <a:avLst/>
          </a:prstGeom>
          <a:noFill/>
        </p:spPr>
        <p:txBody>
          <a:bodyPr wrap="square" rtlCol="0">
            <a:spAutoFit/>
          </a:bodyPr>
          <a:lstStyle/>
          <a:p>
            <a:r>
              <a:rPr lang="en-US" sz="1400" b="1" kern="0" dirty="0">
                <a:cs typeface="Arial" pitchFamily="34" charset="0"/>
              </a:rPr>
              <a:t>The target company needs to have a revenue above $10M</a:t>
            </a:r>
            <a:endParaRPr lang="en-US" sz="1400" b="1" dirty="0"/>
          </a:p>
        </p:txBody>
      </p:sp>
      <p:sp>
        <p:nvSpPr>
          <p:cNvPr id="63" name="TextBox 62">
            <a:extLst>
              <a:ext uri="{FF2B5EF4-FFF2-40B4-BE49-F238E27FC236}">
                <a16:creationId xmlns:a16="http://schemas.microsoft.com/office/drawing/2014/main" id="{61087AA6-5327-4B82-993E-69A1259B9DAB}"/>
              </a:ext>
            </a:extLst>
          </p:cNvPr>
          <p:cNvSpPr txBox="1"/>
          <p:nvPr/>
        </p:nvSpPr>
        <p:spPr>
          <a:xfrm>
            <a:off x="720436" y="4594633"/>
            <a:ext cx="3189338" cy="738664"/>
          </a:xfrm>
          <a:prstGeom prst="rect">
            <a:avLst/>
          </a:prstGeom>
          <a:noFill/>
        </p:spPr>
        <p:txBody>
          <a:bodyPr wrap="square" rtlCol="0">
            <a:spAutoFit/>
          </a:bodyPr>
          <a:lstStyle/>
          <a:p>
            <a:r>
              <a:rPr lang="en-US" sz="1400" b="1" kern="0" dirty="0">
                <a:cs typeface="Arial" pitchFamily="34" charset="0"/>
              </a:rPr>
              <a:t>The target company needs to have a premium positioning and good reputation</a:t>
            </a:r>
            <a:endParaRPr lang="en-US" sz="1400" b="1" dirty="0"/>
          </a:p>
        </p:txBody>
      </p:sp>
      <p:pic>
        <p:nvPicPr>
          <p:cNvPr id="4" name="Graphic 3" descr="Building with solid fill">
            <a:extLst>
              <a:ext uri="{FF2B5EF4-FFF2-40B4-BE49-F238E27FC236}">
                <a16:creationId xmlns:a16="http://schemas.microsoft.com/office/drawing/2014/main" id="{325EE201-69AA-4933-ABAD-008FDAA5E4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9088" y="1684562"/>
            <a:ext cx="506818" cy="506818"/>
          </a:xfrm>
          <a:prstGeom prst="rect">
            <a:avLst/>
          </a:prstGeom>
        </p:spPr>
      </p:pic>
      <p:pic>
        <p:nvPicPr>
          <p:cNvPr id="76" name="Graphic 75" descr="Building with solid fill">
            <a:extLst>
              <a:ext uri="{FF2B5EF4-FFF2-40B4-BE49-F238E27FC236}">
                <a16:creationId xmlns:a16="http://schemas.microsoft.com/office/drawing/2014/main" id="{3C03AECA-1AE2-4B66-A3F4-995A498468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26017" y="1684562"/>
            <a:ext cx="506818" cy="506818"/>
          </a:xfrm>
          <a:prstGeom prst="rect">
            <a:avLst/>
          </a:prstGeom>
        </p:spPr>
      </p:pic>
      <p:pic>
        <p:nvPicPr>
          <p:cNvPr id="77" name="Graphic 76" descr="Building with solid fill">
            <a:extLst>
              <a:ext uri="{FF2B5EF4-FFF2-40B4-BE49-F238E27FC236}">
                <a16:creationId xmlns:a16="http://schemas.microsoft.com/office/drawing/2014/main" id="{80E979AA-A232-40A3-91CB-4976D10203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2946" y="1684562"/>
            <a:ext cx="506818" cy="506818"/>
          </a:xfrm>
          <a:prstGeom prst="rect">
            <a:avLst/>
          </a:prstGeom>
        </p:spPr>
      </p:pic>
      <p:pic>
        <p:nvPicPr>
          <p:cNvPr id="78" name="Graphic 77" descr="Building with solid fill">
            <a:extLst>
              <a:ext uri="{FF2B5EF4-FFF2-40B4-BE49-F238E27FC236}">
                <a16:creationId xmlns:a16="http://schemas.microsoft.com/office/drawing/2014/main" id="{1D31D3E2-EED1-4C85-A884-A816E69943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79875" y="1684562"/>
            <a:ext cx="506818" cy="506818"/>
          </a:xfrm>
          <a:prstGeom prst="rect">
            <a:avLst/>
          </a:prstGeom>
        </p:spPr>
      </p:pic>
      <p:pic>
        <p:nvPicPr>
          <p:cNvPr id="79" name="Graphic 78" descr="Building with solid fill">
            <a:extLst>
              <a:ext uri="{FF2B5EF4-FFF2-40B4-BE49-F238E27FC236}">
                <a16:creationId xmlns:a16="http://schemas.microsoft.com/office/drawing/2014/main" id="{3FC4BA47-6FF7-44DE-8366-543F245633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56804" y="1684562"/>
            <a:ext cx="506818" cy="506818"/>
          </a:xfrm>
          <a:prstGeom prst="rect">
            <a:avLst/>
          </a:prstGeom>
        </p:spPr>
      </p:pic>
      <p:pic>
        <p:nvPicPr>
          <p:cNvPr id="80" name="Graphic 79" descr="Building with solid fill">
            <a:extLst>
              <a:ext uri="{FF2B5EF4-FFF2-40B4-BE49-F238E27FC236}">
                <a16:creationId xmlns:a16="http://schemas.microsoft.com/office/drawing/2014/main" id="{79D1351A-400A-4388-9C79-3E504F8E79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33733" y="1684562"/>
            <a:ext cx="506818" cy="506818"/>
          </a:xfrm>
          <a:prstGeom prst="rect">
            <a:avLst/>
          </a:prstGeom>
        </p:spPr>
      </p:pic>
      <p:pic>
        <p:nvPicPr>
          <p:cNvPr id="81" name="Graphic 80" descr="Building with solid fill">
            <a:extLst>
              <a:ext uri="{FF2B5EF4-FFF2-40B4-BE49-F238E27FC236}">
                <a16:creationId xmlns:a16="http://schemas.microsoft.com/office/drawing/2014/main" id="{8C0429A2-B28E-4B6D-B2D7-7E3FEF861E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0662" y="1684562"/>
            <a:ext cx="506818" cy="506818"/>
          </a:xfrm>
          <a:prstGeom prst="rect">
            <a:avLst/>
          </a:prstGeom>
        </p:spPr>
      </p:pic>
      <p:pic>
        <p:nvPicPr>
          <p:cNvPr id="82" name="Graphic 81" descr="Building with solid fill">
            <a:extLst>
              <a:ext uri="{FF2B5EF4-FFF2-40B4-BE49-F238E27FC236}">
                <a16:creationId xmlns:a16="http://schemas.microsoft.com/office/drawing/2014/main" id="{CADC6DDD-A32A-4D63-8A1D-9883C95AE6C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7591" y="1684562"/>
            <a:ext cx="506818" cy="506818"/>
          </a:xfrm>
          <a:prstGeom prst="rect">
            <a:avLst/>
          </a:prstGeom>
        </p:spPr>
      </p:pic>
      <p:pic>
        <p:nvPicPr>
          <p:cNvPr id="83" name="Graphic 82" descr="Building with solid fill">
            <a:extLst>
              <a:ext uri="{FF2B5EF4-FFF2-40B4-BE49-F238E27FC236}">
                <a16:creationId xmlns:a16="http://schemas.microsoft.com/office/drawing/2014/main" id="{78F446D5-4B6B-4F0F-9E6D-12EB69C50F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64522" y="1684562"/>
            <a:ext cx="506818" cy="506818"/>
          </a:xfrm>
          <a:prstGeom prst="rect">
            <a:avLst/>
          </a:prstGeom>
        </p:spPr>
      </p:pic>
      <p:pic>
        <p:nvPicPr>
          <p:cNvPr id="84" name="Graphic 83" descr="Building with solid fill">
            <a:extLst>
              <a:ext uri="{FF2B5EF4-FFF2-40B4-BE49-F238E27FC236}">
                <a16:creationId xmlns:a16="http://schemas.microsoft.com/office/drawing/2014/main" id="{1D3A5DB3-E4B9-4A48-B4DA-F6C47A69D7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5291" y="6016082"/>
            <a:ext cx="506818" cy="506818"/>
          </a:xfrm>
          <a:prstGeom prst="rect">
            <a:avLst/>
          </a:prstGeom>
        </p:spPr>
      </p:pic>
      <p:pic>
        <p:nvPicPr>
          <p:cNvPr id="85" name="Graphic 84" descr="Building with solid fill">
            <a:extLst>
              <a:ext uri="{FF2B5EF4-FFF2-40B4-BE49-F238E27FC236}">
                <a16:creationId xmlns:a16="http://schemas.microsoft.com/office/drawing/2014/main" id="{54E201D2-79A7-4295-8250-B0552A5EF6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2220" y="6016082"/>
            <a:ext cx="506818" cy="506818"/>
          </a:xfrm>
          <a:prstGeom prst="rect">
            <a:avLst/>
          </a:prstGeom>
        </p:spPr>
      </p:pic>
      <p:pic>
        <p:nvPicPr>
          <p:cNvPr id="86" name="Graphic 85" descr="Building with solid fill">
            <a:extLst>
              <a:ext uri="{FF2B5EF4-FFF2-40B4-BE49-F238E27FC236}">
                <a16:creationId xmlns:a16="http://schemas.microsoft.com/office/drawing/2014/main" id="{CA97928E-E0C0-4670-A968-93218FEA53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89149" y="6016082"/>
            <a:ext cx="506818" cy="506818"/>
          </a:xfrm>
          <a:prstGeom prst="rect">
            <a:avLst/>
          </a:prstGeom>
        </p:spPr>
      </p:pic>
    </p:spTree>
    <p:extLst>
      <p:ext uri="{BB962C8B-B14F-4D97-AF65-F5344CB8AC3E}">
        <p14:creationId xmlns:p14="http://schemas.microsoft.com/office/powerpoint/2010/main" val="38031223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e identified 5 [insert your own number] screening criteria to help us select the right companies to potentially acquire</a:t>
            </a:r>
            <a:endParaRPr lang="en-US" sz="2400" kern="0" dirty="0"/>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cxnSp>
        <p:nvCxnSpPr>
          <p:cNvPr id="20" name="Straight Connector 19">
            <a:extLst>
              <a:ext uri="{FF2B5EF4-FFF2-40B4-BE49-F238E27FC236}">
                <a16:creationId xmlns:a16="http://schemas.microsoft.com/office/drawing/2014/main" id="{20AEA728-4591-4064-BF22-1324704EA368}"/>
              </a:ext>
            </a:extLst>
          </p:cNvPr>
          <p:cNvCxnSpPr>
            <a:cxnSpLocks/>
          </p:cNvCxnSpPr>
          <p:nvPr/>
        </p:nvCxnSpPr>
        <p:spPr>
          <a:xfrm>
            <a:off x="7005887" y="2683660"/>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C4154393-69BD-4256-83B9-7AB6B511F539}"/>
              </a:ext>
            </a:extLst>
          </p:cNvPr>
          <p:cNvSpPr/>
          <p:nvPr/>
        </p:nvSpPr>
        <p:spPr>
          <a:xfrm>
            <a:off x="8002853" y="2623128"/>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7B6444FD-EB2F-44DE-BE6A-97C67CD0E2C1}"/>
              </a:ext>
            </a:extLst>
          </p:cNvPr>
          <p:cNvCxnSpPr>
            <a:cxnSpLocks/>
          </p:cNvCxnSpPr>
          <p:nvPr/>
        </p:nvCxnSpPr>
        <p:spPr>
          <a:xfrm>
            <a:off x="7005887" y="4164605"/>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11A113D-B49F-4321-9B64-2DA0316D05F7}"/>
              </a:ext>
            </a:extLst>
          </p:cNvPr>
          <p:cNvSpPr/>
          <p:nvPr/>
        </p:nvSpPr>
        <p:spPr>
          <a:xfrm>
            <a:off x="8002853" y="4104073"/>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a:extLst>
              <a:ext uri="{FF2B5EF4-FFF2-40B4-BE49-F238E27FC236}">
                <a16:creationId xmlns:a16="http://schemas.microsoft.com/office/drawing/2014/main" id="{208A4C52-4E6B-427A-83A1-ECE3F1DB2785}"/>
              </a:ext>
            </a:extLst>
          </p:cNvPr>
          <p:cNvCxnSpPr>
            <a:cxnSpLocks/>
          </p:cNvCxnSpPr>
          <p:nvPr/>
        </p:nvCxnSpPr>
        <p:spPr>
          <a:xfrm>
            <a:off x="6795224" y="5584295"/>
            <a:ext cx="1219158" cy="1447"/>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5684BCB9-1D64-4814-8E68-C23822DA165B}"/>
              </a:ext>
            </a:extLst>
          </p:cNvPr>
          <p:cNvSpPr/>
          <p:nvPr/>
        </p:nvSpPr>
        <p:spPr>
          <a:xfrm>
            <a:off x="7980108" y="5523818"/>
            <a:ext cx="122400" cy="122400"/>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9" name="Straight Connector 38">
            <a:extLst>
              <a:ext uri="{FF2B5EF4-FFF2-40B4-BE49-F238E27FC236}">
                <a16:creationId xmlns:a16="http://schemas.microsoft.com/office/drawing/2014/main" id="{C5A847E9-72AE-4EF6-9F3B-B03DC7C7295E}"/>
              </a:ext>
            </a:extLst>
          </p:cNvPr>
          <p:cNvCxnSpPr>
            <a:cxnSpLocks/>
          </p:cNvCxnSpPr>
          <p:nvPr/>
        </p:nvCxnSpPr>
        <p:spPr>
          <a:xfrm flipH="1">
            <a:off x="4106610" y="3409939"/>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2BE7CAA-8DE3-4194-9626-AB0115E835C9}"/>
              </a:ext>
            </a:extLst>
          </p:cNvPr>
          <p:cNvSpPr/>
          <p:nvPr/>
        </p:nvSpPr>
        <p:spPr>
          <a:xfrm flipH="1">
            <a:off x="4014765" y="3350266"/>
            <a:ext cx="120683" cy="12068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382DAA24-2637-4218-B03C-3D3372996660}"/>
              </a:ext>
            </a:extLst>
          </p:cNvPr>
          <p:cNvCxnSpPr>
            <a:cxnSpLocks/>
          </p:cNvCxnSpPr>
          <p:nvPr/>
        </p:nvCxnSpPr>
        <p:spPr>
          <a:xfrm flipH="1">
            <a:off x="4106610" y="4855575"/>
            <a:ext cx="1025805" cy="1336"/>
          </a:xfrm>
          <a:prstGeom prst="line">
            <a:avLst/>
          </a:prstGeom>
          <a:solidFill>
            <a:schemeClr val="tx2"/>
          </a:solid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7B87E424-9BB0-4DE3-B024-133E76635D87}"/>
              </a:ext>
            </a:extLst>
          </p:cNvPr>
          <p:cNvSpPr/>
          <p:nvPr/>
        </p:nvSpPr>
        <p:spPr>
          <a:xfrm flipH="1">
            <a:off x="4014765" y="4795902"/>
            <a:ext cx="120683" cy="120683"/>
          </a:xfrm>
          <a:prstGeom prst="ellipse">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6">
            <a:extLst>
              <a:ext uri="{FF2B5EF4-FFF2-40B4-BE49-F238E27FC236}">
                <a16:creationId xmlns:a16="http://schemas.microsoft.com/office/drawing/2014/main" id="{F4838B57-EE6F-4E30-A12E-B872C18B1D4C}"/>
              </a:ext>
            </a:extLst>
          </p:cNvPr>
          <p:cNvSpPr>
            <a:spLocks/>
          </p:cNvSpPr>
          <p:nvPr/>
        </p:nvSpPr>
        <p:spPr bwMode="auto">
          <a:xfrm>
            <a:off x="4332284" y="2221657"/>
            <a:ext cx="3473735" cy="741793"/>
          </a:xfrm>
          <a:custGeom>
            <a:avLst/>
            <a:gdLst/>
            <a:ahLst/>
            <a:cxnLst>
              <a:cxn ang="0">
                <a:pos x="1329" y="0"/>
              </a:cxn>
              <a:cxn ang="0">
                <a:pos x="1655" y="0"/>
              </a:cxn>
              <a:cxn ang="0">
                <a:pos x="1813" y="5"/>
              </a:cxn>
              <a:cxn ang="0">
                <a:pos x="1964" y="9"/>
              </a:cxn>
              <a:cxn ang="0">
                <a:pos x="2108" y="16"/>
              </a:cxn>
              <a:cxn ang="0">
                <a:pos x="2246" y="26"/>
              </a:cxn>
              <a:cxn ang="0">
                <a:pos x="2374" y="37"/>
              </a:cxn>
              <a:cxn ang="0">
                <a:pos x="2490" y="49"/>
              </a:cxn>
              <a:cxn ang="0">
                <a:pos x="2599" y="63"/>
              </a:cxn>
              <a:cxn ang="0">
                <a:pos x="2695" y="79"/>
              </a:cxn>
              <a:cxn ang="0">
                <a:pos x="2778" y="96"/>
              </a:cxn>
              <a:cxn ang="0">
                <a:pos x="2851" y="114"/>
              </a:cxn>
              <a:cxn ang="0">
                <a:pos x="2906" y="133"/>
              </a:cxn>
              <a:cxn ang="0">
                <a:pos x="2948" y="154"/>
              </a:cxn>
              <a:cxn ang="0">
                <a:pos x="2974" y="175"/>
              </a:cxn>
              <a:cxn ang="0">
                <a:pos x="2983" y="196"/>
              </a:cxn>
              <a:cxn ang="0">
                <a:pos x="2983" y="637"/>
              </a:cxn>
              <a:cxn ang="0">
                <a:pos x="0" y="637"/>
              </a:cxn>
              <a:cxn ang="0">
                <a:pos x="0" y="196"/>
              </a:cxn>
              <a:cxn ang="0">
                <a:pos x="10" y="175"/>
              </a:cxn>
              <a:cxn ang="0">
                <a:pos x="35" y="154"/>
              </a:cxn>
              <a:cxn ang="0">
                <a:pos x="77" y="133"/>
              </a:cxn>
              <a:cxn ang="0">
                <a:pos x="133" y="114"/>
              </a:cxn>
              <a:cxn ang="0">
                <a:pos x="205" y="96"/>
              </a:cxn>
              <a:cxn ang="0">
                <a:pos x="289" y="79"/>
              </a:cxn>
              <a:cxn ang="0">
                <a:pos x="384" y="63"/>
              </a:cxn>
              <a:cxn ang="0">
                <a:pos x="494" y="49"/>
              </a:cxn>
              <a:cxn ang="0">
                <a:pos x="610" y="37"/>
              </a:cxn>
              <a:cxn ang="0">
                <a:pos x="738" y="26"/>
              </a:cxn>
              <a:cxn ang="0">
                <a:pos x="875" y="16"/>
              </a:cxn>
              <a:cxn ang="0">
                <a:pos x="1019" y="9"/>
              </a:cxn>
              <a:cxn ang="0">
                <a:pos x="1171" y="5"/>
              </a:cxn>
              <a:cxn ang="0">
                <a:pos x="1329" y="0"/>
              </a:cxn>
            </a:cxnLst>
            <a:rect l="0" t="0" r="r" b="b"/>
            <a:pathLst>
              <a:path w="2983" h="637">
                <a:moveTo>
                  <a:pt x="1329" y="0"/>
                </a:moveTo>
                <a:lnTo>
                  <a:pt x="1655" y="0"/>
                </a:lnTo>
                <a:lnTo>
                  <a:pt x="1813" y="5"/>
                </a:lnTo>
                <a:lnTo>
                  <a:pt x="1964" y="9"/>
                </a:lnTo>
                <a:lnTo>
                  <a:pt x="2108" y="16"/>
                </a:lnTo>
                <a:lnTo>
                  <a:pt x="2246" y="26"/>
                </a:lnTo>
                <a:lnTo>
                  <a:pt x="2374" y="37"/>
                </a:lnTo>
                <a:lnTo>
                  <a:pt x="2490" y="49"/>
                </a:lnTo>
                <a:lnTo>
                  <a:pt x="2599" y="63"/>
                </a:lnTo>
                <a:lnTo>
                  <a:pt x="2695" y="79"/>
                </a:lnTo>
                <a:lnTo>
                  <a:pt x="2778" y="96"/>
                </a:lnTo>
                <a:lnTo>
                  <a:pt x="2851" y="114"/>
                </a:lnTo>
                <a:lnTo>
                  <a:pt x="2906" y="133"/>
                </a:lnTo>
                <a:lnTo>
                  <a:pt x="2948" y="154"/>
                </a:lnTo>
                <a:lnTo>
                  <a:pt x="2974" y="175"/>
                </a:lnTo>
                <a:lnTo>
                  <a:pt x="2983" y="196"/>
                </a:lnTo>
                <a:lnTo>
                  <a:pt x="2983" y="637"/>
                </a:lnTo>
                <a:lnTo>
                  <a:pt x="0" y="637"/>
                </a:lnTo>
                <a:lnTo>
                  <a:pt x="0" y="196"/>
                </a:lnTo>
                <a:lnTo>
                  <a:pt x="10" y="175"/>
                </a:lnTo>
                <a:lnTo>
                  <a:pt x="35" y="154"/>
                </a:lnTo>
                <a:lnTo>
                  <a:pt x="77" y="133"/>
                </a:lnTo>
                <a:lnTo>
                  <a:pt x="133" y="114"/>
                </a:lnTo>
                <a:lnTo>
                  <a:pt x="205" y="96"/>
                </a:lnTo>
                <a:lnTo>
                  <a:pt x="289" y="79"/>
                </a:lnTo>
                <a:lnTo>
                  <a:pt x="384" y="63"/>
                </a:lnTo>
                <a:lnTo>
                  <a:pt x="494" y="49"/>
                </a:lnTo>
                <a:lnTo>
                  <a:pt x="610" y="37"/>
                </a:lnTo>
                <a:lnTo>
                  <a:pt x="738" y="26"/>
                </a:lnTo>
                <a:lnTo>
                  <a:pt x="875" y="16"/>
                </a:lnTo>
                <a:lnTo>
                  <a:pt x="1019" y="9"/>
                </a:lnTo>
                <a:lnTo>
                  <a:pt x="1171" y="5"/>
                </a:lnTo>
                <a:lnTo>
                  <a:pt x="132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7">
            <a:extLst>
              <a:ext uri="{FF2B5EF4-FFF2-40B4-BE49-F238E27FC236}">
                <a16:creationId xmlns:a16="http://schemas.microsoft.com/office/drawing/2014/main" id="{C30115AD-B707-4CF9-A747-D3623D3C6BF8}"/>
              </a:ext>
            </a:extLst>
          </p:cNvPr>
          <p:cNvSpPr>
            <a:spLocks/>
          </p:cNvSpPr>
          <p:nvPr/>
        </p:nvSpPr>
        <p:spPr bwMode="auto">
          <a:xfrm>
            <a:off x="4332284" y="2738700"/>
            <a:ext cx="3473735" cy="454159"/>
          </a:xfrm>
          <a:custGeom>
            <a:avLst/>
            <a:gdLst/>
            <a:ahLst/>
            <a:cxnLst>
              <a:cxn ang="0">
                <a:pos x="1329" y="0"/>
              </a:cxn>
              <a:cxn ang="0">
                <a:pos x="1655" y="0"/>
              </a:cxn>
              <a:cxn ang="0">
                <a:pos x="1813" y="4"/>
              </a:cxn>
              <a:cxn ang="0">
                <a:pos x="1964" y="9"/>
              </a:cxn>
              <a:cxn ang="0">
                <a:pos x="2108" y="16"/>
              </a:cxn>
              <a:cxn ang="0">
                <a:pos x="2246" y="25"/>
              </a:cxn>
              <a:cxn ang="0">
                <a:pos x="2374" y="37"/>
              </a:cxn>
              <a:cxn ang="0">
                <a:pos x="2490" y="49"/>
              </a:cxn>
              <a:cxn ang="0">
                <a:pos x="2599" y="63"/>
              </a:cxn>
              <a:cxn ang="0">
                <a:pos x="2695" y="79"/>
              </a:cxn>
              <a:cxn ang="0">
                <a:pos x="2778" y="95"/>
              </a:cxn>
              <a:cxn ang="0">
                <a:pos x="2851" y="114"/>
              </a:cxn>
              <a:cxn ang="0">
                <a:pos x="2906" y="133"/>
              </a:cxn>
              <a:cxn ang="0">
                <a:pos x="2948" y="151"/>
              </a:cxn>
              <a:cxn ang="0">
                <a:pos x="2974" y="172"/>
              </a:cxn>
              <a:cxn ang="0">
                <a:pos x="2983" y="193"/>
              </a:cxn>
              <a:cxn ang="0">
                <a:pos x="2974" y="214"/>
              </a:cxn>
              <a:cxn ang="0">
                <a:pos x="2948" y="235"/>
              </a:cxn>
              <a:cxn ang="0">
                <a:pos x="2906" y="254"/>
              </a:cxn>
              <a:cxn ang="0">
                <a:pos x="2851" y="275"/>
              </a:cxn>
              <a:cxn ang="0">
                <a:pos x="2778" y="292"/>
              </a:cxn>
              <a:cxn ang="0">
                <a:pos x="2695" y="308"/>
              </a:cxn>
              <a:cxn ang="0">
                <a:pos x="2599" y="324"/>
              </a:cxn>
              <a:cxn ang="0">
                <a:pos x="2490" y="338"/>
              </a:cxn>
              <a:cxn ang="0">
                <a:pos x="2374" y="352"/>
              </a:cxn>
              <a:cxn ang="0">
                <a:pos x="2246" y="362"/>
              </a:cxn>
              <a:cxn ang="0">
                <a:pos x="2108" y="371"/>
              </a:cxn>
              <a:cxn ang="0">
                <a:pos x="1964" y="380"/>
              </a:cxn>
              <a:cxn ang="0">
                <a:pos x="1813" y="385"/>
              </a:cxn>
              <a:cxn ang="0">
                <a:pos x="1655" y="390"/>
              </a:cxn>
              <a:cxn ang="0">
                <a:pos x="1329" y="390"/>
              </a:cxn>
              <a:cxn ang="0">
                <a:pos x="1171" y="385"/>
              </a:cxn>
              <a:cxn ang="0">
                <a:pos x="1019" y="380"/>
              </a:cxn>
              <a:cxn ang="0">
                <a:pos x="875" y="371"/>
              </a:cxn>
              <a:cxn ang="0">
                <a:pos x="738" y="362"/>
              </a:cxn>
              <a:cxn ang="0">
                <a:pos x="610" y="352"/>
              </a:cxn>
              <a:cxn ang="0">
                <a:pos x="494" y="338"/>
              </a:cxn>
              <a:cxn ang="0">
                <a:pos x="384" y="324"/>
              </a:cxn>
              <a:cxn ang="0">
                <a:pos x="289" y="308"/>
              </a:cxn>
              <a:cxn ang="0">
                <a:pos x="205" y="292"/>
              </a:cxn>
              <a:cxn ang="0">
                <a:pos x="133" y="275"/>
              </a:cxn>
              <a:cxn ang="0">
                <a:pos x="77" y="254"/>
              </a:cxn>
              <a:cxn ang="0">
                <a:pos x="35" y="235"/>
              </a:cxn>
              <a:cxn ang="0">
                <a:pos x="10" y="214"/>
              </a:cxn>
              <a:cxn ang="0">
                <a:pos x="0" y="193"/>
              </a:cxn>
              <a:cxn ang="0">
                <a:pos x="10" y="172"/>
              </a:cxn>
              <a:cxn ang="0">
                <a:pos x="35" y="151"/>
              </a:cxn>
              <a:cxn ang="0">
                <a:pos x="77" y="133"/>
              </a:cxn>
              <a:cxn ang="0">
                <a:pos x="133" y="114"/>
              </a:cxn>
              <a:cxn ang="0">
                <a:pos x="205" y="95"/>
              </a:cxn>
              <a:cxn ang="0">
                <a:pos x="289" y="79"/>
              </a:cxn>
              <a:cxn ang="0">
                <a:pos x="384" y="63"/>
              </a:cxn>
              <a:cxn ang="0">
                <a:pos x="494" y="49"/>
              </a:cxn>
              <a:cxn ang="0">
                <a:pos x="610" y="37"/>
              </a:cxn>
              <a:cxn ang="0">
                <a:pos x="738" y="25"/>
              </a:cxn>
              <a:cxn ang="0">
                <a:pos x="875" y="16"/>
              </a:cxn>
              <a:cxn ang="0">
                <a:pos x="1019" y="9"/>
              </a:cxn>
              <a:cxn ang="0">
                <a:pos x="1171" y="4"/>
              </a:cxn>
              <a:cxn ang="0">
                <a:pos x="1329" y="0"/>
              </a:cxn>
            </a:cxnLst>
            <a:rect l="0" t="0" r="r" b="b"/>
            <a:pathLst>
              <a:path w="2983" h="390">
                <a:moveTo>
                  <a:pt x="1329" y="0"/>
                </a:moveTo>
                <a:lnTo>
                  <a:pt x="1655" y="0"/>
                </a:lnTo>
                <a:lnTo>
                  <a:pt x="1813" y="4"/>
                </a:lnTo>
                <a:lnTo>
                  <a:pt x="1964" y="9"/>
                </a:lnTo>
                <a:lnTo>
                  <a:pt x="2108" y="16"/>
                </a:lnTo>
                <a:lnTo>
                  <a:pt x="2246" y="25"/>
                </a:lnTo>
                <a:lnTo>
                  <a:pt x="2374" y="37"/>
                </a:lnTo>
                <a:lnTo>
                  <a:pt x="2490" y="49"/>
                </a:lnTo>
                <a:lnTo>
                  <a:pt x="2599" y="63"/>
                </a:lnTo>
                <a:lnTo>
                  <a:pt x="2695" y="79"/>
                </a:lnTo>
                <a:lnTo>
                  <a:pt x="2778" y="95"/>
                </a:lnTo>
                <a:lnTo>
                  <a:pt x="2851" y="114"/>
                </a:lnTo>
                <a:lnTo>
                  <a:pt x="2906" y="133"/>
                </a:lnTo>
                <a:lnTo>
                  <a:pt x="2948" y="151"/>
                </a:lnTo>
                <a:lnTo>
                  <a:pt x="2974" y="172"/>
                </a:lnTo>
                <a:lnTo>
                  <a:pt x="2983" y="193"/>
                </a:lnTo>
                <a:lnTo>
                  <a:pt x="2974" y="214"/>
                </a:lnTo>
                <a:lnTo>
                  <a:pt x="2948" y="235"/>
                </a:lnTo>
                <a:lnTo>
                  <a:pt x="2906" y="254"/>
                </a:lnTo>
                <a:lnTo>
                  <a:pt x="2851" y="275"/>
                </a:lnTo>
                <a:lnTo>
                  <a:pt x="2778" y="292"/>
                </a:lnTo>
                <a:lnTo>
                  <a:pt x="2695" y="308"/>
                </a:lnTo>
                <a:lnTo>
                  <a:pt x="2599" y="324"/>
                </a:lnTo>
                <a:lnTo>
                  <a:pt x="2490" y="338"/>
                </a:lnTo>
                <a:lnTo>
                  <a:pt x="2374" y="352"/>
                </a:lnTo>
                <a:lnTo>
                  <a:pt x="2246" y="362"/>
                </a:lnTo>
                <a:lnTo>
                  <a:pt x="2108" y="371"/>
                </a:lnTo>
                <a:lnTo>
                  <a:pt x="1964" y="380"/>
                </a:lnTo>
                <a:lnTo>
                  <a:pt x="1813" y="385"/>
                </a:lnTo>
                <a:lnTo>
                  <a:pt x="1655" y="390"/>
                </a:lnTo>
                <a:lnTo>
                  <a:pt x="1329" y="390"/>
                </a:lnTo>
                <a:lnTo>
                  <a:pt x="1171" y="385"/>
                </a:lnTo>
                <a:lnTo>
                  <a:pt x="1019" y="380"/>
                </a:lnTo>
                <a:lnTo>
                  <a:pt x="875" y="371"/>
                </a:lnTo>
                <a:lnTo>
                  <a:pt x="738" y="362"/>
                </a:lnTo>
                <a:lnTo>
                  <a:pt x="610" y="352"/>
                </a:lnTo>
                <a:lnTo>
                  <a:pt x="494" y="338"/>
                </a:lnTo>
                <a:lnTo>
                  <a:pt x="384" y="324"/>
                </a:lnTo>
                <a:lnTo>
                  <a:pt x="289" y="308"/>
                </a:lnTo>
                <a:lnTo>
                  <a:pt x="205" y="292"/>
                </a:lnTo>
                <a:lnTo>
                  <a:pt x="133" y="275"/>
                </a:lnTo>
                <a:lnTo>
                  <a:pt x="77" y="254"/>
                </a:lnTo>
                <a:lnTo>
                  <a:pt x="35" y="235"/>
                </a:lnTo>
                <a:lnTo>
                  <a:pt x="10" y="214"/>
                </a:lnTo>
                <a:lnTo>
                  <a:pt x="0" y="193"/>
                </a:lnTo>
                <a:lnTo>
                  <a:pt x="10" y="172"/>
                </a:lnTo>
                <a:lnTo>
                  <a:pt x="35" y="151"/>
                </a:lnTo>
                <a:lnTo>
                  <a:pt x="77" y="133"/>
                </a:lnTo>
                <a:lnTo>
                  <a:pt x="133" y="114"/>
                </a:lnTo>
                <a:lnTo>
                  <a:pt x="205" y="95"/>
                </a:lnTo>
                <a:lnTo>
                  <a:pt x="289" y="79"/>
                </a:lnTo>
                <a:lnTo>
                  <a:pt x="384" y="63"/>
                </a:lnTo>
                <a:lnTo>
                  <a:pt x="494" y="49"/>
                </a:lnTo>
                <a:lnTo>
                  <a:pt x="610" y="37"/>
                </a:lnTo>
                <a:lnTo>
                  <a:pt x="738" y="25"/>
                </a:lnTo>
                <a:lnTo>
                  <a:pt x="875" y="16"/>
                </a:lnTo>
                <a:lnTo>
                  <a:pt x="1019" y="9"/>
                </a:lnTo>
                <a:lnTo>
                  <a:pt x="1171" y="4"/>
                </a:lnTo>
                <a:lnTo>
                  <a:pt x="1329"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2">
            <a:extLst>
              <a:ext uri="{FF2B5EF4-FFF2-40B4-BE49-F238E27FC236}">
                <a16:creationId xmlns:a16="http://schemas.microsoft.com/office/drawing/2014/main" id="{99B6D50A-B294-4D0F-8B1E-9B38F1A523C9}"/>
              </a:ext>
            </a:extLst>
          </p:cNvPr>
          <p:cNvSpPr>
            <a:spLocks/>
          </p:cNvSpPr>
          <p:nvPr/>
        </p:nvSpPr>
        <p:spPr bwMode="auto">
          <a:xfrm>
            <a:off x="4619918" y="3007703"/>
            <a:ext cx="2899632" cy="709187"/>
          </a:xfrm>
          <a:custGeom>
            <a:avLst/>
            <a:gdLst/>
            <a:ahLst/>
            <a:cxnLst>
              <a:cxn ang="0">
                <a:pos x="1100" y="0"/>
              </a:cxn>
              <a:cxn ang="0">
                <a:pos x="1389" y="0"/>
              </a:cxn>
              <a:cxn ang="0">
                <a:pos x="1531" y="4"/>
              </a:cxn>
              <a:cxn ang="0">
                <a:pos x="1666" y="9"/>
              </a:cxn>
              <a:cxn ang="0">
                <a:pos x="1794" y="16"/>
              </a:cxn>
              <a:cxn ang="0">
                <a:pos x="1913" y="26"/>
              </a:cxn>
              <a:cxn ang="0">
                <a:pos x="2024" y="37"/>
              </a:cxn>
              <a:cxn ang="0">
                <a:pos x="2127" y="49"/>
              </a:cxn>
              <a:cxn ang="0">
                <a:pos x="2217" y="61"/>
              </a:cxn>
              <a:cxn ang="0">
                <a:pos x="2296" y="77"/>
              </a:cxn>
              <a:cxn ang="0">
                <a:pos x="2364" y="93"/>
              </a:cxn>
              <a:cxn ang="0">
                <a:pos x="2417" y="110"/>
              </a:cxn>
              <a:cxn ang="0">
                <a:pos x="2457" y="126"/>
              </a:cxn>
              <a:cxn ang="0">
                <a:pos x="2480" y="145"/>
              </a:cxn>
              <a:cxn ang="0">
                <a:pos x="2490" y="163"/>
              </a:cxn>
              <a:cxn ang="0">
                <a:pos x="2490" y="609"/>
              </a:cxn>
              <a:cxn ang="0">
                <a:pos x="0" y="609"/>
              </a:cxn>
              <a:cxn ang="0">
                <a:pos x="0" y="163"/>
              </a:cxn>
              <a:cxn ang="0">
                <a:pos x="9" y="145"/>
              </a:cxn>
              <a:cxn ang="0">
                <a:pos x="33" y="126"/>
              </a:cxn>
              <a:cxn ang="0">
                <a:pos x="72" y="110"/>
              </a:cxn>
              <a:cxn ang="0">
                <a:pos x="126" y="93"/>
              </a:cxn>
              <a:cxn ang="0">
                <a:pos x="193" y="77"/>
              </a:cxn>
              <a:cxn ang="0">
                <a:pos x="272" y="61"/>
              </a:cxn>
              <a:cxn ang="0">
                <a:pos x="365" y="49"/>
              </a:cxn>
              <a:cxn ang="0">
                <a:pos x="465" y="37"/>
              </a:cxn>
              <a:cxn ang="0">
                <a:pos x="577" y="26"/>
              </a:cxn>
              <a:cxn ang="0">
                <a:pos x="696" y="16"/>
              </a:cxn>
              <a:cxn ang="0">
                <a:pos x="824" y="9"/>
              </a:cxn>
              <a:cxn ang="0">
                <a:pos x="959" y="4"/>
              </a:cxn>
              <a:cxn ang="0">
                <a:pos x="1100" y="0"/>
              </a:cxn>
            </a:cxnLst>
            <a:rect l="0" t="0" r="r" b="b"/>
            <a:pathLst>
              <a:path w="2490" h="609">
                <a:moveTo>
                  <a:pt x="1100" y="0"/>
                </a:moveTo>
                <a:lnTo>
                  <a:pt x="1389" y="0"/>
                </a:lnTo>
                <a:lnTo>
                  <a:pt x="1531" y="4"/>
                </a:lnTo>
                <a:lnTo>
                  <a:pt x="1666" y="9"/>
                </a:lnTo>
                <a:lnTo>
                  <a:pt x="1794" y="16"/>
                </a:lnTo>
                <a:lnTo>
                  <a:pt x="1913" y="26"/>
                </a:lnTo>
                <a:lnTo>
                  <a:pt x="2024" y="37"/>
                </a:lnTo>
                <a:lnTo>
                  <a:pt x="2127" y="49"/>
                </a:lnTo>
                <a:lnTo>
                  <a:pt x="2217" y="61"/>
                </a:lnTo>
                <a:lnTo>
                  <a:pt x="2296" y="77"/>
                </a:lnTo>
                <a:lnTo>
                  <a:pt x="2364" y="93"/>
                </a:lnTo>
                <a:lnTo>
                  <a:pt x="2417" y="110"/>
                </a:lnTo>
                <a:lnTo>
                  <a:pt x="2457" y="126"/>
                </a:lnTo>
                <a:lnTo>
                  <a:pt x="2480" y="145"/>
                </a:lnTo>
                <a:lnTo>
                  <a:pt x="2490" y="163"/>
                </a:lnTo>
                <a:lnTo>
                  <a:pt x="2490" y="609"/>
                </a:lnTo>
                <a:lnTo>
                  <a:pt x="0" y="609"/>
                </a:lnTo>
                <a:lnTo>
                  <a:pt x="0" y="163"/>
                </a:lnTo>
                <a:lnTo>
                  <a:pt x="9" y="145"/>
                </a:lnTo>
                <a:lnTo>
                  <a:pt x="33" y="126"/>
                </a:lnTo>
                <a:lnTo>
                  <a:pt x="72" y="110"/>
                </a:lnTo>
                <a:lnTo>
                  <a:pt x="126" y="93"/>
                </a:lnTo>
                <a:lnTo>
                  <a:pt x="193" y="77"/>
                </a:lnTo>
                <a:lnTo>
                  <a:pt x="272" y="61"/>
                </a:lnTo>
                <a:lnTo>
                  <a:pt x="365" y="49"/>
                </a:lnTo>
                <a:lnTo>
                  <a:pt x="465" y="37"/>
                </a:lnTo>
                <a:lnTo>
                  <a:pt x="577" y="26"/>
                </a:lnTo>
                <a:lnTo>
                  <a:pt x="696" y="16"/>
                </a:lnTo>
                <a:lnTo>
                  <a:pt x="824" y="9"/>
                </a:lnTo>
                <a:lnTo>
                  <a:pt x="959" y="4"/>
                </a:lnTo>
                <a:lnTo>
                  <a:pt x="1100" y="0"/>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3">
            <a:extLst>
              <a:ext uri="{FF2B5EF4-FFF2-40B4-BE49-F238E27FC236}">
                <a16:creationId xmlns:a16="http://schemas.microsoft.com/office/drawing/2014/main" id="{0C1E9E94-3187-4E28-A3E8-6D938E1E36FC}"/>
              </a:ext>
            </a:extLst>
          </p:cNvPr>
          <p:cNvSpPr>
            <a:spLocks/>
          </p:cNvSpPr>
          <p:nvPr/>
        </p:nvSpPr>
        <p:spPr bwMode="auto">
          <a:xfrm>
            <a:off x="4619918" y="3527075"/>
            <a:ext cx="2899632" cy="377302"/>
          </a:xfrm>
          <a:custGeom>
            <a:avLst/>
            <a:gdLst/>
            <a:ahLst/>
            <a:cxnLst>
              <a:cxn ang="0">
                <a:pos x="1100" y="0"/>
              </a:cxn>
              <a:cxn ang="0">
                <a:pos x="1389" y="0"/>
              </a:cxn>
              <a:cxn ang="0">
                <a:pos x="1531" y="4"/>
              </a:cxn>
              <a:cxn ang="0">
                <a:pos x="1666" y="9"/>
              </a:cxn>
              <a:cxn ang="0">
                <a:pos x="1794" y="16"/>
              </a:cxn>
              <a:cxn ang="0">
                <a:pos x="1913" y="25"/>
              </a:cxn>
              <a:cxn ang="0">
                <a:pos x="2024" y="35"/>
              </a:cxn>
              <a:cxn ang="0">
                <a:pos x="2127" y="46"/>
              </a:cxn>
              <a:cxn ang="0">
                <a:pos x="2217" y="61"/>
              </a:cxn>
              <a:cxn ang="0">
                <a:pos x="2296" y="75"/>
              </a:cxn>
              <a:cxn ang="0">
                <a:pos x="2364" y="91"/>
              </a:cxn>
              <a:cxn ang="0">
                <a:pos x="2417" y="107"/>
              </a:cxn>
              <a:cxn ang="0">
                <a:pos x="2457" y="126"/>
              </a:cxn>
              <a:cxn ang="0">
                <a:pos x="2480" y="145"/>
              </a:cxn>
              <a:cxn ang="0">
                <a:pos x="2490" y="163"/>
              </a:cxn>
              <a:cxn ang="0">
                <a:pos x="2480" y="182"/>
              </a:cxn>
              <a:cxn ang="0">
                <a:pos x="2457" y="201"/>
              </a:cxn>
              <a:cxn ang="0">
                <a:pos x="2417" y="217"/>
              </a:cxn>
              <a:cxn ang="0">
                <a:pos x="2364" y="233"/>
              </a:cxn>
              <a:cxn ang="0">
                <a:pos x="2296" y="250"/>
              </a:cxn>
              <a:cxn ang="0">
                <a:pos x="2217" y="264"/>
              </a:cxn>
              <a:cxn ang="0">
                <a:pos x="2127" y="278"/>
              </a:cxn>
              <a:cxn ang="0">
                <a:pos x="2024" y="289"/>
              </a:cxn>
              <a:cxn ang="0">
                <a:pos x="1913" y="299"/>
              </a:cxn>
              <a:cxn ang="0">
                <a:pos x="1794" y="308"/>
              </a:cxn>
              <a:cxn ang="0">
                <a:pos x="1666" y="315"/>
              </a:cxn>
              <a:cxn ang="0">
                <a:pos x="1531" y="320"/>
              </a:cxn>
              <a:cxn ang="0">
                <a:pos x="1389" y="324"/>
              </a:cxn>
              <a:cxn ang="0">
                <a:pos x="1100" y="324"/>
              </a:cxn>
              <a:cxn ang="0">
                <a:pos x="959" y="320"/>
              </a:cxn>
              <a:cxn ang="0">
                <a:pos x="824" y="315"/>
              </a:cxn>
              <a:cxn ang="0">
                <a:pos x="696" y="308"/>
              </a:cxn>
              <a:cxn ang="0">
                <a:pos x="577" y="299"/>
              </a:cxn>
              <a:cxn ang="0">
                <a:pos x="465" y="289"/>
              </a:cxn>
              <a:cxn ang="0">
                <a:pos x="365" y="278"/>
              </a:cxn>
              <a:cxn ang="0">
                <a:pos x="272" y="264"/>
              </a:cxn>
              <a:cxn ang="0">
                <a:pos x="193" y="250"/>
              </a:cxn>
              <a:cxn ang="0">
                <a:pos x="126" y="233"/>
              </a:cxn>
              <a:cxn ang="0">
                <a:pos x="72" y="217"/>
              </a:cxn>
              <a:cxn ang="0">
                <a:pos x="33" y="201"/>
              </a:cxn>
              <a:cxn ang="0">
                <a:pos x="9" y="182"/>
              </a:cxn>
              <a:cxn ang="0">
                <a:pos x="0" y="163"/>
              </a:cxn>
              <a:cxn ang="0">
                <a:pos x="9" y="145"/>
              </a:cxn>
              <a:cxn ang="0">
                <a:pos x="33" y="126"/>
              </a:cxn>
              <a:cxn ang="0">
                <a:pos x="72" y="107"/>
              </a:cxn>
              <a:cxn ang="0">
                <a:pos x="126" y="91"/>
              </a:cxn>
              <a:cxn ang="0">
                <a:pos x="193" y="75"/>
              </a:cxn>
              <a:cxn ang="0">
                <a:pos x="272" y="61"/>
              </a:cxn>
              <a:cxn ang="0">
                <a:pos x="365" y="46"/>
              </a:cxn>
              <a:cxn ang="0">
                <a:pos x="465" y="35"/>
              </a:cxn>
              <a:cxn ang="0">
                <a:pos x="577" y="25"/>
              </a:cxn>
              <a:cxn ang="0">
                <a:pos x="696" y="16"/>
              </a:cxn>
              <a:cxn ang="0">
                <a:pos x="824" y="9"/>
              </a:cxn>
              <a:cxn ang="0">
                <a:pos x="959" y="4"/>
              </a:cxn>
              <a:cxn ang="0">
                <a:pos x="1100" y="0"/>
              </a:cxn>
            </a:cxnLst>
            <a:rect l="0" t="0" r="r" b="b"/>
            <a:pathLst>
              <a:path w="2490" h="324">
                <a:moveTo>
                  <a:pt x="1100" y="0"/>
                </a:moveTo>
                <a:lnTo>
                  <a:pt x="1389" y="0"/>
                </a:lnTo>
                <a:lnTo>
                  <a:pt x="1531" y="4"/>
                </a:lnTo>
                <a:lnTo>
                  <a:pt x="1666" y="9"/>
                </a:lnTo>
                <a:lnTo>
                  <a:pt x="1794" y="16"/>
                </a:lnTo>
                <a:lnTo>
                  <a:pt x="1913" y="25"/>
                </a:lnTo>
                <a:lnTo>
                  <a:pt x="2024" y="35"/>
                </a:lnTo>
                <a:lnTo>
                  <a:pt x="2127" y="46"/>
                </a:lnTo>
                <a:lnTo>
                  <a:pt x="2217" y="61"/>
                </a:lnTo>
                <a:lnTo>
                  <a:pt x="2296" y="75"/>
                </a:lnTo>
                <a:lnTo>
                  <a:pt x="2364" y="91"/>
                </a:lnTo>
                <a:lnTo>
                  <a:pt x="2417" y="107"/>
                </a:lnTo>
                <a:lnTo>
                  <a:pt x="2457" y="126"/>
                </a:lnTo>
                <a:lnTo>
                  <a:pt x="2480" y="145"/>
                </a:lnTo>
                <a:lnTo>
                  <a:pt x="2490" y="163"/>
                </a:lnTo>
                <a:lnTo>
                  <a:pt x="2480" y="182"/>
                </a:lnTo>
                <a:lnTo>
                  <a:pt x="2457" y="201"/>
                </a:lnTo>
                <a:lnTo>
                  <a:pt x="2417" y="217"/>
                </a:lnTo>
                <a:lnTo>
                  <a:pt x="2364" y="233"/>
                </a:lnTo>
                <a:lnTo>
                  <a:pt x="2296" y="250"/>
                </a:lnTo>
                <a:lnTo>
                  <a:pt x="2217" y="264"/>
                </a:lnTo>
                <a:lnTo>
                  <a:pt x="2127" y="278"/>
                </a:lnTo>
                <a:lnTo>
                  <a:pt x="2024" y="289"/>
                </a:lnTo>
                <a:lnTo>
                  <a:pt x="1913" y="299"/>
                </a:lnTo>
                <a:lnTo>
                  <a:pt x="1794" y="308"/>
                </a:lnTo>
                <a:lnTo>
                  <a:pt x="1666" y="315"/>
                </a:lnTo>
                <a:lnTo>
                  <a:pt x="1531" y="320"/>
                </a:lnTo>
                <a:lnTo>
                  <a:pt x="1389" y="324"/>
                </a:lnTo>
                <a:lnTo>
                  <a:pt x="1100" y="324"/>
                </a:lnTo>
                <a:lnTo>
                  <a:pt x="959" y="320"/>
                </a:lnTo>
                <a:lnTo>
                  <a:pt x="824" y="315"/>
                </a:lnTo>
                <a:lnTo>
                  <a:pt x="696" y="308"/>
                </a:lnTo>
                <a:lnTo>
                  <a:pt x="577" y="299"/>
                </a:lnTo>
                <a:lnTo>
                  <a:pt x="465" y="289"/>
                </a:lnTo>
                <a:lnTo>
                  <a:pt x="365" y="278"/>
                </a:lnTo>
                <a:lnTo>
                  <a:pt x="272" y="264"/>
                </a:lnTo>
                <a:lnTo>
                  <a:pt x="193" y="250"/>
                </a:lnTo>
                <a:lnTo>
                  <a:pt x="126" y="233"/>
                </a:lnTo>
                <a:lnTo>
                  <a:pt x="72" y="217"/>
                </a:lnTo>
                <a:lnTo>
                  <a:pt x="33" y="201"/>
                </a:lnTo>
                <a:lnTo>
                  <a:pt x="9" y="182"/>
                </a:lnTo>
                <a:lnTo>
                  <a:pt x="0" y="163"/>
                </a:lnTo>
                <a:lnTo>
                  <a:pt x="9" y="145"/>
                </a:lnTo>
                <a:lnTo>
                  <a:pt x="33" y="126"/>
                </a:lnTo>
                <a:lnTo>
                  <a:pt x="72" y="107"/>
                </a:lnTo>
                <a:lnTo>
                  <a:pt x="126" y="91"/>
                </a:lnTo>
                <a:lnTo>
                  <a:pt x="193" y="75"/>
                </a:lnTo>
                <a:lnTo>
                  <a:pt x="272" y="61"/>
                </a:lnTo>
                <a:lnTo>
                  <a:pt x="365" y="46"/>
                </a:lnTo>
                <a:lnTo>
                  <a:pt x="465" y="35"/>
                </a:lnTo>
                <a:lnTo>
                  <a:pt x="577" y="25"/>
                </a:lnTo>
                <a:lnTo>
                  <a:pt x="696" y="16"/>
                </a:lnTo>
                <a:lnTo>
                  <a:pt x="824" y="9"/>
                </a:lnTo>
                <a:lnTo>
                  <a:pt x="959" y="4"/>
                </a:lnTo>
                <a:lnTo>
                  <a:pt x="1100"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4">
            <a:extLst>
              <a:ext uri="{FF2B5EF4-FFF2-40B4-BE49-F238E27FC236}">
                <a16:creationId xmlns:a16="http://schemas.microsoft.com/office/drawing/2014/main" id="{DF8F2D9C-C6D5-420E-A6CA-DABA3F278C41}"/>
              </a:ext>
            </a:extLst>
          </p:cNvPr>
          <p:cNvSpPr>
            <a:spLocks/>
          </p:cNvSpPr>
          <p:nvPr/>
        </p:nvSpPr>
        <p:spPr bwMode="auto">
          <a:xfrm>
            <a:off x="4874946" y="3779773"/>
            <a:ext cx="2389576" cy="671924"/>
          </a:xfrm>
          <a:custGeom>
            <a:avLst/>
            <a:gdLst/>
            <a:ahLst/>
            <a:cxnLst>
              <a:cxn ang="0">
                <a:pos x="898" y="0"/>
              </a:cxn>
              <a:cxn ang="0">
                <a:pos x="1154" y="0"/>
              </a:cxn>
              <a:cxn ang="0">
                <a:pos x="1279" y="5"/>
              </a:cxn>
              <a:cxn ang="0">
                <a:pos x="1398" y="9"/>
              </a:cxn>
              <a:cxn ang="0">
                <a:pos x="1510" y="16"/>
              </a:cxn>
              <a:cxn ang="0">
                <a:pos x="1612" y="23"/>
              </a:cxn>
              <a:cxn ang="0">
                <a:pos x="1707" y="35"/>
              </a:cxn>
              <a:cxn ang="0">
                <a:pos x="1794" y="44"/>
              </a:cxn>
              <a:cxn ang="0">
                <a:pos x="1868" y="58"/>
              </a:cxn>
              <a:cxn ang="0">
                <a:pos x="1931" y="72"/>
              </a:cxn>
              <a:cxn ang="0">
                <a:pos x="1982" y="86"/>
              </a:cxn>
              <a:cxn ang="0">
                <a:pos x="2022" y="103"/>
              </a:cxn>
              <a:cxn ang="0">
                <a:pos x="2045" y="119"/>
              </a:cxn>
              <a:cxn ang="0">
                <a:pos x="2052" y="135"/>
              </a:cxn>
              <a:cxn ang="0">
                <a:pos x="2052" y="577"/>
              </a:cxn>
              <a:cxn ang="0">
                <a:pos x="0" y="577"/>
              </a:cxn>
              <a:cxn ang="0">
                <a:pos x="0" y="135"/>
              </a:cxn>
              <a:cxn ang="0">
                <a:pos x="7" y="119"/>
              </a:cxn>
              <a:cxn ang="0">
                <a:pos x="30" y="103"/>
              </a:cxn>
              <a:cxn ang="0">
                <a:pos x="69" y="86"/>
              </a:cxn>
              <a:cxn ang="0">
                <a:pos x="121" y="72"/>
              </a:cxn>
              <a:cxn ang="0">
                <a:pos x="183" y="58"/>
              </a:cxn>
              <a:cxn ang="0">
                <a:pos x="258" y="44"/>
              </a:cxn>
              <a:cxn ang="0">
                <a:pos x="344" y="35"/>
              </a:cxn>
              <a:cxn ang="0">
                <a:pos x="439" y="23"/>
              </a:cxn>
              <a:cxn ang="0">
                <a:pos x="542" y="16"/>
              </a:cxn>
              <a:cxn ang="0">
                <a:pos x="653" y="9"/>
              </a:cxn>
              <a:cxn ang="0">
                <a:pos x="772" y="5"/>
              </a:cxn>
              <a:cxn ang="0">
                <a:pos x="898" y="0"/>
              </a:cxn>
            </a:cxnLst>
            <a:rect l="0" t="0" r="r" b="b"/>
            <a:pathLst>
              <a:path w="2052" h="577">
                <a:moveTo>
                  <a:pt x="898" y="0"/>
                </a:moveTo>
                <a:lnTo>
                  <a:pt x="1154" y="0"/>
                </a:lnTo>
                <a:lnTo>
                  <a:pt x="1279" y="5"/>
                </a:lnTo>
                <a:lnTo>
                  <a:pt x="1398" y="9"/>
                </a:lnTo>
                <a:lnTo>
                  <a:pt x="1510" y="16"/>
                </a:lnTo>
                <a:lnTo>
                  <a:pt x="1612" y="23"/>
                </a:lnTo>
                <a:lnTo>
                  <a:pt x="1707" y="35"/>
                </a:lnTo>
                <a:lnTo>
                  <a:pt x="1794" y="44"/>
                </a:lnTo>
                <a:lnTo>
                  <a:pt x="1868" y="58"/>
                </a:lnTo>
                <a:lnTo>
                  <a:pt x="1931" y="72"/>
                </a:lnTo>
                <a:lnTo>
                  <a:pt x="1982" y="86"/>
                </a:lnTo>
                <a:lnTo>
                  <a:pt x="2022" y="103"/>
                </a:lnTo>
                <a:lnTo>
                  <a:pt x="2045" y="119"/>
                </a:lnTo>
                <a:lnTo>
                  <a:pt x="2052" y="135"/>
                </a:lnTo>
                <a:lnTo>
                  <a:pt x="2052" y="577"/>
                </a:lnTo>
                <a:lnTo>
                  <a:pt x="0" y="577"/>
                </a:lnTo>
                <a:lnTo>
                  <a:pt x="0" y="135"/>
                </a:lnTo>
                <a:lnTo>
                  <a:pt x="7" y="119"/>
                </a:lnTo>
                <a:lnTo>
                  <a:pt x="30" y="103"/>
                </a:lnTo>
                <a:lnTo>
                  <a:pt x="69" y="86"/>
                </a:lnTo>
                <a:lnTo>
                  <a:pt x="121" y="72"/>
                </a:lnTo>
                <a:lnTo>
                  <a:pt x="183" y="58"/>
                </a:lnTo>
                <a:lnTo>
                  <a:pt x="258" y="44"/>
                </a:lnTo>
                <a:lnTo>
                  <a:pt x="344" y="35"/>
                </a:lnTo>
                <a:lnTo>
                  <a:pt x="439" y="23"/>
                </a:lnTo>
                <a:lnTo>
                  <a:pt x="542" y="16"/>
                </a:lnTo>
                <a:lnTo>
                  <a:pt x="653" y="9"/>
                </a:lnTo>
                <a:lnTo>
                  <a:pt x="772" y="5"/>
                </a:lnTo>
                <a:lnTo>
                  <a:pt x="898" y="0"/>
                </a:ln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5">
            <a:extLst>
              <a:ext uri="{FF2B5EF4-FFF2-40B4-BE49-F238E27FC236}">
                <a16:creationId xmlns:a16="http://schemas.microsoft.com/office/drawing/2014/main" id="{8B5BE61E-CDDB-4AE1-9944-013194E926A4}"/>
              </a:ext>
            </a:extLst>
          </p:cNvPr>
          <p:cNvSpPr>
            <a:spLocks/>
          </p:cNvSpPr>
          <p:nvPr/>
        </p:nvSpPr>
        <p:spPr bwMode="auto">
          <a:xfrm>
            <a:off x="4874946" y="4293323"/>
            <a:ext cx="2389576" cy="313253"/>
          </a:xfrm>
          <a:custGeom>
            <a:avLst/>
            <a:gdLst/>
            <a:ahLst/>
            <a:cxnLst>
              <a:cxn ang="0">
                <a:pos x="898" y="0"/>
              </a:cxn>
              <a:cxn ang="0">
                <a:pos x="1154" y="0"/>
              </a:cxn>
              <a:cxn ang="0">
                <a:pos x="1279" y="5"/>
              </a:cxn>
              <a:cxn ang="0">
                <a:pos x="1398" y="10"/>
              </a:cxn>
              <a:cxn ang="0">
                <a:pos x="1510" y="17"/>
              </a:cxn>
              <a:cxn ang="0">
                <a:pos x="1612" y="24"/>
              </a:cxn>
              <a:cxn ang="0">
                <a:pos x="1707" y="35"/>
              </a:cxn>
              <a:cxn ang="0">
                <a:pos x="1794" y="45"/>
              </a:cxn>
              <a:cxn ang="0">
                <a:pos x="1868" y="59"/>
              </a:cxn>
              <a:cxn ang="0">
                <a:pos x="1931" y="73"/>
              </a:cxn>
              <a:cxn ang="0">
                <a:pos x="1982" y="87"/>
              </a:cxn>
              <a:cxn ang="0">
                <a:pos x="2022" y="103"/>
              </a:cxn>
              <a:cxn ang="0">
                <a:pos x="2045" y="119"/>
              </a:cxn>
              <a:cxn ang="0">
                <a:pos x="2052" y="136"/>
              </a:cxn>
              <a:cxn ang="0">
                <a:pos x="2045" y="152"/>
              </a:cxn>
              <a:cxn ang="0">
                <a:pos x="2022" y="168"/>
              </a:cxn>
              <a:cxn ang="0">
                <a:pos x="1982" y="182"/>
              </a:cxn>
              <a:cxn ang="0">
                <a:pos x="1931" y="199"/>
              </a:cxn>
              <a:cxn ang="0">
                <a:pos x="1868" y="210"/>
              </a:cxn>
              <a:cxn ang="0">
                <a:pos x="1794" y="224"/>
              </a:cxn>
              <a:cxn ang="0">
                <a:pos x="1707" y="234"/>
              </a:cxn>
              <a:cxn ang="0">
                <a:pos x="1612" y="245"/>
              </a:cxn>
              <a:cxn ang="0">
                <a:pos x="1510" y="252"/>
              </a:cxn>
              <a:cxn ang="0">
                <a:pos x="1398" y="259"/>
              </a:cxn>
              <a:cxn ang="0">
                <a:pos x="1279" y="264"/>
              </a:cxn>
              <a:cxn ang="0">
                <a:pos x="1154" y="269"/>
              </a:cxn>
              <a:cxn ang="0">
                <a:pos x="898" y="269"/>
              </a:cxn>
              <a:cxn ang="0">
                <a:pos x="772" y="264"/>
              </a:cxn>
              <a:cxn ang="0">
                <a:pos x="653" y="259"/>
              </a:cxn>
              <a:cxn ang="0">
                <a:pos x="542" y="252"/>
              </a:cxn>
              <a:cxn ang="0">
                <a:pos x="439" y="245"/>
              </a:cxn>
              <a:cxn ang="0">
                <a:pos x="344" y="234"/>
              </a:cxn>
              <a:cxn ang="0">
                <a:pos x="258" y="224"/>
              </a:cxn>
              <a:cxn ang="0">
                <a:pos x="183" y="210"/>
              </a:cxn>
              <a:cxn ang="0">
                <a:pos x="121" y="199"/>
              </a:cxn>
              <a:cxn ang="0">
                <a:pos x="69" y="182"/>
              </a:cxn>
              <a:cxn ang="0">
                <a:pos x="30" y="168"/>
              </a:cxn>
              <a:cxn ang="0">
                <a:pos x="7" y="152"/>
              </a:cxn>
              <a:cxn ang="0">
                <a:pos x="0" y="136"/>
              </a:cxn>
              <a:cxn ang="0">
                <a:pos x="7" y="119"/>
              </a:cxn>
              <a:cxn ang="0">
                <a:pos x="30" y="103"/>
              </a:cxn>
              <a:cxn ang="0">
                <a:pos x="69" y="87"/>
              </a:cxn>
              <a:cxn ang="0">
                <a:pos x="121" y="73"/>
              </a:cxn>
              <a:cxn ang="0">
                <a:pos x="183" y="59"/>
              </a:cxn>
              <a:cxn ang="0">
                <a:pos x="258" y="45"/>
              </a:cxn>
              <a:cxn ang="0">
                <a:pos x="344" y="35"/>
              </a:cxn>
              <a:cxn ang="0">
                <a:pos x="439" y="24"/>
              </a:cxn>
              <a:cxn ang="0">
                <a:pos x="542" y="17"/>
              </a:cxn>
              <a:cxn ang="0">
                <a:pos x="653" y="10"/>
              </a:cxn>
              <a:cxn ang="0">
                <a:pos x="772" y="5"/>
              </a:cxn>
              <a:cxn ang="0">
                <a:pos x="898" y="0"/>
              </a:cxn>
            </a:cxnLst>
            <a:rect l="0" t="0" r="r" b="b"/>
            <a:pathLst>
              <a:path w="2052" h="269">
                <a:moveTo>
                  <a:pt x="898" y="0"/>
                </a:moveTo>
                <a:lnTo>
                  <a:pt x="1154" y="0"/>
                </a:lnTo>
                <a:lnTo>
                  <a:pt x="1279" y="5"/>
                </a:lnTo>
                <a:lnTo>
                  <a:pt x="1398" y="10"/>
                </a:lnTo>
                <a:lnTo>
                  <a:pt x="1510" y="17"/>
                </a:lnTo>
                <a:lnTo>
                  <a:pt x="1612" y="24"/>
                </a:lnTo>
                <a:lnTo>
                  <a:pt x="1707" y="35"/>
                </a:lnTo>
                <a:lnTo>
                  <a:pt x="1794" y="45"/>
                </a:lnTo>
                <a:lnTo>
                  <a:pt x="1868" y="59"/>
                </a:lnTo>
                <a:lnTo>
                  <a:pt x="1931" y="73"/>
                </a:lnTo>
                <a:lnTo>
                  <a:pt x="1982" y="87"/>
                </a:lnTo>
                <a:lnTo>
                  <a:pt x="2022" y="103"/>
                </a:lnTo>
                <a:lnTo>
                  <a:pt x="2045" y="119"/>
                </a:lnTo>
                <a:lnTo>
                  <a:pt x="2052" y="136"/>
                </a:lnTo>
                <a:lnTo>
                  <a:pt x="2045" y="152"/>
                </a:lnTo>
                <a:lnTo>
                  <a:pt x="2022" y="168"/>
                </a:lnTo>
                <a:lnTo>
                  <a:pt x="1982" y="182"/>
                </a:lnTo>
                <a:lnTo>
                  <a:pt x="1931" y="199"/>
                </a:lnTo>
                <a:lnTo>
                  <a:pt x="1868" y="210"/>
                </a:lnTo>
                <a:lnTo>
                  <a:pt x="1794" y="224"/>
                </a:lnTo>
                <a:lnTo>
                  <a:pt x="1707" y="234"/>
                </a:lnTo>
                <a:lnTo>
                  <a:pt x="1612" y="245"/>
                </a:lnTo>
                <a:lnTo>
                  <a:pt x="1510" y="252"/>
                </a:lnTo>
                <a:lnTo>
                  <a:pt x="1398" y="259"/>
                </a:lnTo>
                <a:lnTo>
                  <a:pt x="1279" y="264"/>
                </a:lnTo>
                <a:lnTo>
                  <a:pt x="1154" y="269"/>
                </a:lnTo>
                <a:lnTo>
                  <a:pt x="898" y="269"/>
                </a:lnTo>
                <a:lnTo>
                  <a:pt x="772" y="264"/>
                </a:lnTo>
                <a:lnTo>
                  <a:pt x="653" y="259"/>
                </a:lnTo>
                <a:lnTo>
                  <a:pt x="542" y="252"/>
                </a:lnTo>
                <a:lnTo>
                  <a:pt x="439" y="245"/>
                </a:lnTo>
                <a:lnTo>
                  <a:pt x="344" y="234"/>
                </a:lnTo>
                <a:lnTo>
                  <a:pt x="258" y="224"/>
                </a:lnTo>
                <a:lnTo>
                  <a:pt x="183" y="210"/>
                </a:lnTo>
                <a:lnTo>
                  <a:pt x="121" y="199"/>
                </a:lnTo>
                <a:lnTo>
                  <a:pt x="69" y="182"/>
                </a:lnTo>
                <a:lnTo>
                  <a:pt x="30" y="168"/>
                </a:lnTo>
                <a:lnTo>
                  <a:pt x="7" y="152"/>
                </a:lnTo>
                <a:lnTo>
                  <a:pt x="0" y="136"/>
                </a:lnTo>
                <a:lnTo>
                  <a:pt x="7" y="119"/>
                </a:lnTo>
                <a:lnTo>
                  <a:pt x="30" y="103"/>
                </a:lnTo>
                <a:lnTo>
                  <a:pt x="69" y="87"/>
                </a:lnTo>
                <a:lnTo>
                  <a:pt x="121" y="73"/>
                </a:lnTo>
                <a:lnTo>
                  <a:pt x="183" y="59"/>
                </a:lnTo>
                <a:lnTo>
                  <a:pt x="258" y="45"/>
                </a:lnTo>
                <a:lnTo>
                  <a:pt x="344" y="35"/>
                </a:lnTo>
                <a:lnTo>
                  <a:pt x="439" y="24"/>
                </a:lnTo>
                <a:lnTo>
                  <a:pt x="542" y="17"/>
                </a:lnTo>
                <a:lnTo>
                  <a:pt x="653" y="10"/>
                </a:lnTo>
                <a:lnTo>
                  <a:pt x="772" y="5"/>
                </a:lnTo>
                <a:lnTo>
                  <a:pt x="898" y="0"/>
                </a:lnTo>
                <a:close/>
              </a:path>
            </a:pathLst>
          </a:custGeom>
          <a:solidFill>
            <a:schemeClr val="accent1">
              <a:lumMod val="90000"/>
              <a:lumOff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6">
            <a:extLst>
              <a:ext uri="{FF2B5EF4-FFF2-40B4-BE49-F238E27FC236}">
                <a16:creationId xmlns:a16="http://schemas.microsoft.com/office/drawing/2014/main" id="{2B937D59-C264-4807-919D-50F2812E1036}"/>
              </a:ext>
            </a:extLst>
          </p:cNvPr>
          <p:cNvSpPr>
            <a:spLocks/>
          </p:cNvSpPr>
          <p:nvPr/>
        </p:nvSpPr>
        <p:spPr bwMode="auto">
          <a:xfrm>
            <a:off x="5091545" y="4505264"/>
            <a:ext cx="1931923" cy="631166"/>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6"/>
              </a:cxn>
              <a:cxn ang="0">
                <a:pos x="1628" y="80"/>
              </a:cxn>
              <a:cxn ang="0">
                <a:pos x="1652" y="94"/>
              </a:cxn>
              <a:cxn ang="0">
                <a:pos x="1659" y="108"/>
              </a:cxn>
              <a:cxn ang="0">
                <a:pos x="1659" y="542"/>
              </a:cxn>
              <a:cxn ang="0">
                <a:pos x="0" y="542"/>
              </a:cxn>
              <a:cxn ang="0">
                <a:pos x="0" y="108"/>
              </a:cxn>
              <a:cxn ang="0">
                <a:pos x="7" y="94"/>
              </a:cxn>
              <a:cxn ang="0">
                <a:pos x="30" y="80"/>
              </a:cxn>
              <a:cxn ang="0">
                <a:pos x="65" y="66"/>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542">
                <a:moveTo>
                  <a:pt x="719" y="0"/>
                </a:moveTo>
                <a:lnTo>
                  <a:pt x="942" y="0"/>
                </a:lnTo>
                <a:lnTo>
                  <a:pt x="1051" y="5"/>
                </a:lnTo>
                <a:lnTo>
                  <a:pt x="1154" y="10"/>
                </a:lnTo>
                <a:lnTo>
                  <a:pt x="1249" y="14"/>
                </a:lnTo>
                <a:lnTo>
                  <a:pt x="1338" y="24"/>
                </a:lnTo>
                <a:lnTo>
                  <a:pt x="1417" y="33"/>
                </a:lnTo>
                <a:lnTo>
                  <a:pt x="1487" y="42"/>
                </a:lnTo>
                <a:lnTo>
                  <a:pt x="1545" y="54"/>
                </a:lnTo>
                <a:lnTo>
                  <a:pt x="1594" y="66"/>
                </a:lnTo>
                <a:lnTo>
                  <a:pt x="1628" y="80"/>
                </a:lnTo>
                <a:lnTo>
                  <a:pt x="1652" y="94"/>
                </a:lnTo>
                <a:lnTo>
                  <a:pt x="1659" y="108"/>
                </a:lnTo>
                <a:lnTo>
                  <a:pt x="1659" y="542"/>
                </a:lnTo>
                <a:lnTo>
                  <a:pt x="0" y="542"/>
                </a:lnTo>
                <a:lnTo>
                  <a:pt x="0" y="108"/>
                </a:lnTo>
                <a:lnTo>
                  <a:pt x="7" y="94"/>
                </a:lnTo>
                <a:lnTo>
                  <a:pt x="30" y="80"/>
                </a:lnTo>
                <a:lnTo>
                  <a:pt x="65" y="66"/>
                </a:lnTo>
                <a:lnTo>
                  <a:pt x="114" y="54"/>
                </a:lnTo>
                <a:lnTo>
                  <a:pt x="172" y="42"/>
                </a:lnTo>
                <a:lnTo>
                  <a:pt x="244" y="33"/>
                </a:lnTo>
                <a:lnTo>
                  <a:pt x="323" y="24"/>
                </a:lnTo>
                <a:lnTo>
                  <a:pt x="412" y="14"/>
                </a:lnTo>
                <a:lnTo>
                  <a:pt x="507" y="10"/>
                </a:lnTo>
                <a:lnTo>
                  <a:pt x="609" y="5"/>
                </a:lnTo>
                <a:lnTo>
                  <a:pt x="719"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7">
            <a:extLst>
              <a:ext uri="{FF2B5EF4-FFF2-40B4-BE49-F238E27FC236}">
                <a16:creationId xmlns:a16="http://schemas.microsoft.com/office/drawing/2014/main" id="{481A89CF-0D73-491D-8282-F8F0DCC1BB60}"/>
              </a:ext>
            </a:extLst>
          </p:cNvPr>
          <p:cNvSpPr>
            <a:spLocks/>
          </p:cNvSpPr>
          <p:nvPr/>
        </p:nvSpPr>
        <p:spPr bwMode="auto">
          <a:xfrm>
            <a:off x="5091545" y="5008333"/>
            <a:ext cx="1931923" cy="256193"/>
          </a:xfrm>
          <a:custGeom>
            <a:avLst/>
            <a:gdLst/>
            <a:ahLst/>
            <a:cxnLst>
              <a:cxn ang="0">
                <a:pos x="719" y="0"/>
              </a:cxn>
              <a:cxn ang="0">
                <a:pos x="942" y="0"/>
              </a:cxn>
              <a:cxn ang="0">
                <a:pos x="1051" y="5"/>
              </a:cxn>
              <a:cxn ang="0">
                <a:pos x="1154" y="10"/>
              </a:cxn>
              <a:cxn ang="0">
                <a:pos x="1249" y="14"/>
              </a:cxn>
              <a:cxn ang="0">
                <a:pos x="1338" y="24"/>
              </a:cxn>
              <a:cxn ang="0">
                <a:pos x="1417" y="33"/>
              </a:cxn>
              <a:cxn ang="0">
                <a:pos x="1487" y="42"/>
              </a:cxn>
              <a:cxn ang="0">
                <a:pos x="1545" y="54"/>
              </a:cxn>
              <a:cxn ang="0">
                <a:pos x="1594" y="68"/>
              </a:cxn>
              <a:cxn ang="0">
                <a:pos x="1628" y="80"/>
              </a:cxn>
              <a:cxn ang="0">
                <a:pos x="1652" y="96"/>
              </a:cxn>
              <a:cxn ang="0">
                <a:pos x="1659" y="110"/>
              </a:cxn>
              <a:cxn ang="0">
                <a:pos x="1652" y="124"/>
              </a:cxn>
              <a:cxn ang="0">
                <a:pos x="1628" y="140"/>
              </a:cxn>
              <a:cxn ang="0">
                <a:pos x="1594" y="152"/>
              </a:cxn>
              <a:cxn ang="0">
                <a:pos x="1545" y="166"/>
              </a:cxn>
              <a:cxn ang="0">
                <a:pos x="1487" y="178"/>
              </a:cxn>
              <a:cxn ang="0">
                <a:pos x="1417" y="187"/>
              </a:cxn>
              <a:cxn ang="0">
                <a:pos x="1338" y="196"/>
              </a:cxn>
              <a:cxn ang="0">
                <a:pos x="1249" y="206"/>
              </a:cxn>
              <a:cxn ang="0">
                <a:pos x="1154" y="210"/>
              </a:cxn>
              <a:cxn ang="0">
                <a:pos x="1051" y="215"/>
              </a:cxn>
              <a:cxn ang="0">
                <a:pos x="942" y="220"/>
              </a:cxn>
              <a:cxn ang="0">
                <a:pos x="719" y="220"/>
              </a:cxn>
              <a:cxn ang="0">
                <a:pos x="609" y="215"/>
              </a:cxn>
              <a:cxn ang="0">
                <a:pos x="507" y="210"/>
              </a:cxn>
              <a:cxn ang="0">
                <a:pos x="412" y="206"/>
              </a:cxn>
              <a:cxn ang="0">
                <a:pos x="323" y="196"/>
              </a:cxn>
              <a:cxn ang="0">
                <a:pos x="244" y="187"/>
              </a:cxn>
              <a:cxn ang="0">
                <a:pos x="172" y="178"/>
              </a:cxn>
              <a:cxn ang="0">
                <a:pos x="114" y="166"/>
              </a:cxn>
              <a:cxn ang="0">
                <a:pos x="65" y="152"/>
              </a:cxn>
              <a:cxn ang="0">
                <a:pos x="30" y="140"/>
              </a:cxn>
              <a:cxn ang="0">
                <a:pos x="7" y="124"/>
              </a:cxn>
              <a:cxn ang="0">
                <a:pos x="0" y="110"/>
              </a:cxn>
              <a:cxn ang="0">
                <a:pos x="7" y="96"/>
              </a:cxn>
              <a:cxn ang="0">
                <a:pos x="30" y="80"/>
              </a:cxn>
              <a:cxn ang="0">
                <a:pos x="65" y="68"/>
              </a:cxn>
              <a:cxn ang="0">
                <a:pos x="114" y="54"/>
              </a:cxn>
              <a:cxn ang="0">
                <a:pos x="172" y="42"/>
              </a:cxn>
              <a:cxn ang="0">
                <a:pos x="244" y="33"/>
              </a:cxn>
              <a:cxn ang="0">
                <a:pos x="323" y="24"/>
              </a:cxn>
              <a:cxn ang="0">
                <a:pos x="412" y="14"/>
              </a:cxn>
              <a:cxn ang="0">
                <a:pos x="507" y="10"/>
              </a:cxn>
              <a:cxn ang="0">
                <a:pos x="609" y="5"/>
              </a:cxn>
              <a:cxn ang="0">
                <a:pos x="719" y="0"/>
              </a:cxn>
            </a:cxnLst>
            <a:rect l="0" t="0" r="r" b="b"/>
            <a:pathLst>
              <a:path w="1659" h="220">
                <a:moveTo>
                  <a:pt x="719" y="0"/>
                </a:moveTo>
                <a:lnTo>
                  <a:pt x="942" y="0"/>
                </a:lnTo>
                <a:lnTo>
                  <a:pt x="1051" y="5"/>
                </a:lnTo>
                <a:lnTo>
                  <a:pt x="1154" y="10"/>
                </a:lnTo>
                <a:lnTo>
                  <a:pt x="1249" y="14"/>
                </a:lnTo>
                <a:lnTo>
                  <a:pt x="1338" y="24"/>
                </a:lnTo>
                <a:lnTo>
                  <a:pt x="1417" y="33"/>
                </a:lnTo>
                <a:lnTo>
                  <a:pt x="1487" y="42"/>
                </a:lnTo>
                <a:lnTo>
                  <a:pt x="1545" y="54"/>
                </a:lnTo>
                <a:lnTo>
                  <a:pt x="1594" y="68"/>
                </a:lnTo>
                <a:lnTo>
                  <a:pt x="1628" y="80"/>
                </a:lnTo>
                <a:lnTo>
                  <a:pt x="1652" y="96"/>
                </a:lnTo>
                <a:lnTo>
                  <a:pt x="1659" y="110"/>
                </a:lnTo>
                <a:lnTo>
                  <a:pt x="1652" y="124"/>
                </a:lnTo>
                <a:lnTo>
                  <a:pt x="1628" y="140"/>
                </a:lnTo>
                <a:lnTo>
                  <a:pt x="1594" y="152"/>
                </a:lnTo>
                <a:lnTo>
                  <a:pt x="1545" y="166"/>
                </a:lnTo>
                <a:lnTo>
                  <a:pt x="1487" y="178"/>
                </a:lnTo>
                <a:lnTo>
                  <a:pt x="1417" y="187"/>
                </a:lnTo>
                <a:lnTo>
                  <a:pt x="1338" y="196"/>
                </a:lnTo>
                <a:lnTo>
                  <a:pt x="1249" y="206"/>
                </a:lnTo>
                <a:lnTo>
                  <a:pt x="1154" y="210"/>
                </a:lnTo>
                <a:lnTo>
                  <a:pt x="1051" y="215"/>
                </a:lnTo>
                <a:lnTo>
                  <a:pt x="942" y="220"/>
                </a:lnTo>
                <a:lnTo>
                  <a:pt x="719" y="220"/>
                </a:lnTo>
                <a:lnTo>
                  <a:pt x="609" y="215"/>
                </a:lnTo>
                <a:lnTo>
                  <a:pt x="507" y="210"/>
                </a:lnTo>
                <a:lnTo>
                  <a:pt x="412" y="206"/>
                </a:lnTo>
                <a:lnTo>
                  <a:pt x="323" y="196"/>
                </a:lnTo>
                <a:lnTo>
                  <a:pt x="244" y="187"/>
                </a:lnTo>
                <a:lnTo>
                  <a:pt x="172" y="178"/>
                </a:lnTo>
                <a:lnTo>
                  <a:pt x="114" y="166"/>
                </a:lnTo>
                <a:lnTo>
                  <a:pt x="65" y="152"/>
                </a:lnTo>
                <a:lnTo>
                  <a:pt x="30" y="140"/>
                </a:lnTo>
                <a:lnTo>
                  <a:pt x="7" y="124"/>
                </a:lnTo>
                <a:lnTo>
                  <a:pt x="0" y="110"/>
                </a:lnTo>
                <a:lnTo>
                  <a:pt x="7" y="96"/>
                </a:lnTo>
                <a:lnTo>
                  <a:pt x="30" y="80"/>
                </a:lnTo>
                <a:lnTo>
                  <a:pt x="65" y="68"/>
                </a:lnTo>
                <a:lnTo>
                  <a:pt x="114" y="54"/>
                </a:lnTo>
                <a:lnTo>
                  <a:pt x="172" y="42"/>
                </a:lnTo>
                <a:lnTo>
                  <a:pt x="244" y="33"/>
                </a:lnTo>
                <a:lnTo>
                  <a:pt x="323" y="24"/>
                </a:lnTo>
                <a:lnTo>
                  <a:pt x="412" y="14"/>
                </a:lnTo>
                <a:lnTo>
                  <a:pt x="507" y="10"/>
                </a:lnTo>
                <a:lnTo>
                  <a:pt x="609" y="5"/>
                </a:lnTo>
                <a:lnTo>
                  <a:pt x="719"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8">
            <a:extLst>
              <a:ext uri="{FF2B5EF4-FFF2-40B4-BE49-F238E27FC236}">
                <a16:creationId xmlns:a16="http://schemas.microsoft.com/office/drawing/2014/main" id="{87F524F2-DB0A-497B-A015-6AB8BB50C7DC}"/>
              </a:ext>
            </a:extLst>
          </p:cNvPr>
          <p:cNvSpPr>
            <a:spLocks/>
          </p:cNvSpPr>
          <p:nvPr/>
        </p:nvSpPr>
        <p:spPr bwMode="auto">
          <a:xfrm>
            <a:off x="5326776" y="5220273"/>
            <a:ext cx="1468448" cy="610204"/>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1"/>
              </a:cxn>
              <a:cxn ang="0">
                <a:pos x="1261" y="85"/>
              </a:cxn>
              <a:cxn ang="0">
                <a:pos x="1261" y="524"/>
              </a:cxn>
              <a:cxn ang="0">
                <a:pos x="0" y="524"/>
              </a:cxn>
              <a:cxn ang="0">
                <a:pos x="0" y="85"/>
              </a:cxn>
              <a:cxn ang="0">
                <a:pos x="10" y="71"/>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524">
                <a:moveTo>
                  <a:pt x="528" y="0"/>
                </a:moveTo>
                <a:lnTo>
                  <a:pt x="733" y="0"/>
                </a:lnTo>
                <a:lnTo>
                  <a:pt x="831" y="5"/>
                </a:lnTo>
                <a:lnTo>
                  <a:pt x="922" y="10"/>
                </a:lnTo>
                <a:lnTo>
                  <a:pt x="1003" y="17"/>
                </a:lnTo>
                <a:lnTo>
                  <a:pt x="1077" y="26"/>
                </a:lnTo>
                <a:lnTo>
                  <a:pt x="1140" y="35"/>
                </a:lnTo>
                <a:lnTo>
                  <a:pt x="1191" y="45"/>
                </a:lnTo>
                <a:lnTo>
                  <a:pt x="1229" y="59"/>
                </a:lnTo>
                <a:lnTo>
                  <a:pt x="1252" y="71"/>
                </a:lnTo>
                <a:lnTo>
                  <a:pt x="1261" y="85"/>
                </a:lnTo>
                <a:lnTo>
                  <a:pt x="1261" y="524"/>
                </a:lnTo>
                <a:lnTo>
                  <a:pt x="0" y="524"/>
                </a:lnTo>
                <a:lnTo>
                  <a:pt x="0" y="85"/>
                </a:lnTo>
                <a:lnTo>
                  <a:pt x="10" y="71"/>
                </a:lnTo>
                <a:lnTo>
                  <a:pt x="33" y="59"/>
                </a:lnTo>
                <a:lnTo>
                  <a:pt x="70" y="45"/>
                </a:lnTo>
                <a:lnTo>
                  <a:pt x="121" y="35"/>
                </a:lnTo>
                <a:lnTo>
                  <a:pt x="186" y="26"/>
                </a:lnTo>
                <a:lnTo>
                  <a:pt x="258" y="17"/>
                </a:lnTo>
                <a:lnTo>
                  <a:pt x="342" y="10"/>
                </a:lnTo>
                <a:lnTo>
                  <a:pt x="433" y="5"/>
                </a:lnTo>
                <a:lnTo>
                  <a:pt x="528"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9">
            <a:extLst>
              <a:ext uri="{FF2B5EF4-FFF2-40B4-BE49-F238E27FC236}">
                <a16:creationId xmlns:a16="http://schemas.microsoft.com/office/drawing/2014/main" id="{1C7F0B0F-3163-40F7-B092-B169DE5DF34F}"/>
              </a:ext>
            </a:extLst>
          </p:cNvPr>
          <p:cNvSpPr>
            <a:spLocks/>
          </p:cNvSpPr>
          <p:nvPr/>
        </p:nvSpPr>
        <p:spPr bwMode="auto">
          <a:xfrm>
            <a:off x="5326776" y="5731494"/>
            <a:ext cx="1468448" cy="193309"/>
          </a:xfrm>
          <a:custGeom>
            <a:avLst/>
            <a:gdLst/>
            <a:ahLst/>
            <a:cxnLst>
              <a:cxn ang="0">
                <a:pos x="528" y="0"/>
              </a:cxn>
              <a:cxn ang="0">
                <a:pos x="733" y="0"/>
              </a:cxn>
              <a:cxn ang="0">
                <a:pos x="831" y="5"/>
              </a:cxn>
              <a:cxn ang="0">
                <a:pos x="922" y="10"/>
              </a:cxn>
              <a:cxn ang="0">
                <a:pos x="1003" y="17"/>
              </a:cxn>
              <a:cxn ang="0">
                <a:pos x="1077" y="26"/>
              </a:cxn>
              <a:cxn ang="0">
                <a:pos x="1140" y="35"/>
              </a:cxn>
              <a:cxn ang="0">
                <a:pos x="1191" y="45"/>
              </a:cxn>
              <a:cxn ang="0">
                <a:pos x="1229" y="59"/>
              </a:cxn>
              <a:cxn ang="0">
                <a:pos x="1252" y="70"/>
              </a:cxn>
              <a:cxn ang="0">
                <a:pos x="1261" y="85"/>
              </a:cxn>
              <a:cxn ang="0">
                <a:pos x="1252" y="99"/>
              </a:cxn>
              <a:cxn ang="0">
                <a:pos x="1229" y="110"/>
              </a:cxn>
              <a:cxn ang="0">
                <a:pos x="1191" y="122"/>
              </a:cxn>
              <a:cxn ang="0">
                <a:pos x="1140" y="134"/>
              </a:cxn>
              <a:cxn ang="0">
                <a:pos x="1077" y="143"/>
              </a:cxn>
              <a:cxn ang="0">
                <a:pos x="1003" y="150"/>
              </a:cxn>
              <a:cxn ang="0">
                <a:pos x="922" y="157"/>
              </a:cxn>
              <a:cxn ang="0">
                <a:pos x="831" y="162"/>
              </a:cxn>
              <a:cxn ang="0">
                <a:pos x="733" y="166"/>
              </a:cxn>
              <a:cxn ang="0">
                <a:pos x="528" y="166"/>
              </a:cxn>
              <a:cxn ang="0">
                <a:pos x="433" y="162"/>
              </a:cxn>
              <a:cxn ang="0">
                <a:pos x="342" y="157"/>
              </a:cxn>
              <a:cxn ang="0">
                <a:pos x="258" y="150"/>
              </a:cxn>
              <a:cxn ang="0">
                <a:pos x="186" y="143"/>
              </a:cxn>
              <a:cxn ang="0">
                <a:pos x="121" y="134"/>
              </a:cxn>
              <a:cxn ang="0">
                <a:pos x="70" y="122"/>
              </a:cxn>
              <a:cxn ang="0">
                <a:pos x="33" y="110"/>
              </a:cxn>
              <a:cxn ang="0">
                <a:pos x="10" y="99"/>
              </a:cxn>
              <a:cxn ang="0">
                <a:pos x="0" y="85"/>
              </a:cxn>
              <a:cxn ang="0">
                <a:pos x="10" y="70"/>
              </a:cxn>
              <a:cxn ang="0">
                <a:pos x="33" y="59"/>
              </a:cxn>
              <a:cxn ang="0">
                <a:pos x="70" y="45"/>
              </a:cxn>
              <a:cxn ang="0">
                <a:pos x="121" y="35"/>
              </a:cxn>
              <a:cxn ang="0">
                <a:pos x="186" y="26"/>
              </a:cxn>
              <a:cxn ang="0">
                <a:pos x="258" y="17"/>
              </a:cxn>
              <a:cxn ang="0">
                <a:pos x="342" y="10"/>
              </a:cxn>
              <a:cxn ang="0">
                <a:pos x="433" y="5"/>
              </a:cxn>
              <a:cxn ang="0">
                <a:pos x="528" y="0"/>
              </a:cxn>
            </a:cxnLst>
            <a:rect l="0" t="0" r="r" b="b"/>
            <a:pathLst>
              <a:path w="1261" h="166">
                <a:moveTo>
                  <a:pt x="528" y="0"/>
                </a:moveTo>
                <a:lnTo>
                  <a:pt x="733" y="0"/>
                </a:lnTo>
                <a:lnTo>
                  <a:pt x="831" y="5"/>
                </a:lnTo>
                <a:lnTo>
                  <a:pt x="922" y="10"/>
                </a:lnTo>
                <a:lnTo>
                  <a:pt x="1003" y="17"/>
                </a:lnTo>
                <a:lnTo>
                  <a:pt x="1077" y="26"/>
                </a:lnTo>
                <a:lnTo>
                  <a:pt x="1140" y="35"/>
                </a:lnTo>
                <a:lnTo>
                  <a:pt x="1191" y="45"/>
                </a:lnTo>
                <a:lnTo>
                  <a:pt x="1229" y="59"/>
                </a:lnTo>
                <a:lnTo>
                  <a:pt x="1252" y="70"/>
                </a:lnTo>
                <a:lnTo>
                  <a:pt x="1261" y="85"/>
                </a:lnTo>
                <a:lnTo>
                  <a:pt x="1252" y="99"/>
                </a:lnTo>
                <a:lnTo>
                  <a:pt x="1229" y="110"/>
                </a:lnTo>
                <a:lnTo>
                  <a:pt x="1191" y="122"/>
                </a:lnTo>
                <a:lnTo>
                  <a:pt x="1140" y="134"/>
                </a:lnTo>
                <a:lnTo>
                  <a:pt x="1077" y="143"/>
                </a:lnTo>
                <a:lnTo>
                  <a:pt x="1003" y="150"/>
                </a:lnTo>
                <a:lnTo>
                  <a:pt x="922" y="157"/>
                </a:lnTo>
                <a:lnTo>
                  <a:pt x="831" y="162"/>
                </a:lnTo>
                <a:lnTo>
                  <a:pt x="733" y="166"/>
                </a:lnTo>
                <a:lnTo>
                  <a:pt x="528" y="166"/>
                </a:lnTo>
                <a:lnTo>
                  <a:pt x="433" y="162"/>
                </a:lnTo>
                <a:lnTo>
                  <a:pt x="342" y="157"/>
                </a:lnTo>
                <a:lnTo>
                  <a:pt x="258" y="150"/>
                </a:lnTo>
                <a:lnTo>
                  <a:pt x="186" y="143"/>
                </a:lnTo>
                <a:lnTo>
                  <a:pt x="121" y="134"/>
                </a:lnTo>
                <a:lnTo>
                  <a:pt x="70" y="122"/>
                </a:lnTo>
                <a:lnTo>
                  <a:pt x="33" y="110"/>
                </a:lnTo>
                <a:lnTo>
                  <a:pt x="10" y="99"/>
                </a:lnTo>
                <a:lnTo>
                  <a:pt x="0" y="85"/>
                </a:lnTo>
                <a:lnTo>
                  <a:pt x="10" y="70"/>
                </a:lnTo>
                <a:lnTo>
                  <a:pt x="33" y="59"/>
                </a:lnTo>
                <a:lnTo>
                  <a:pt x="70" y="45"/>
                </a:lnTo>
                <a:lnTo>
                  <a:pt x="121" y="35"/>
                </a:lnTo>
                <a:lnTo>
                  <a:pt x="186" y="26"/>
                </a:lnTo>
                <a:lnTo>
                  <a:pt x="258" y="17"/>
                </a:lnTo>
                <a:lnTo>
                  <a:pt x="342" y="10"/>
                </a:lnTo>
                <a:lnTo>
                  <a:pt x="433" y="5"/>
                </a:lnTo>
                <a:lnTo>
                  <a:pt x="52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3" name="Group 52">
            <a:extLst>
              <a:ext uri="{FF2B5EF4-FFF2-40B4-BE49-F238E27FC236}">
                <a16:creationId xmlns:a16="http://schemas.microsoft.com/office/drawing/2014/main" id="{0A5325EB-E675-41A1-82F8-6A8AE32555E7}"/>
              </a:ext>
            </a:extLst>
          </p:cNvPr>
          <p:cNvGrpSpPr/>
          <p:nvPr/>
        </p:nvGrpSpPr>
        <p:grpSpPr>
          <a:xfrm>
            <a:off x="4989375" y="2319215"/>
            <a:ext cx="2159566" cy="3321000"/>
            <a:chOff x="4947792" y="1658256"/>
            <a:chExt cx="2566707" cy="3947104"/>
          </a:xfrm>
        </p:grpSpPr>
        <p:sp>
          <p:nvSpPr>
            <p:cNvPr id="54" name="TextBox 14">
              <a:extLst>
                <a:ext uri="{FF2B5EF4-FFF2-40B4-BE49-F238E27FC236}">
                  <a16:creationId xmlns:a16="http://schemas.microsoft.com/office/drawing/2014/main" id="{3049FC8B-EC07-4FAB-9A2A-E25F30FAD3DB}"/>
                </a:ext>
              </a:extLst>
            </p:cNvPr>
            <p:cNvSpPr txBox="1"/>
            <p:nvPr/>
          </p:nvSpPr>
          <p:spPr>
            <a:xfrm>
              <a:off x="4947792" y="1658256"/>
              <a:ext cx="2566707" cy="438962"/>
            </a:xfrm>
            <a:prstGeom prst="rect">
              <a:avLst/>
            </a:prstGeom>
            <a:noFill/>
            <a:effectLst/>
          </p:spPr>
          <p:txBody>
            <a:bodyPr wrap="none" rtlCol="0">
              <a:spAutoFit/>
            </a:bodyPr>
            <a:lstStyle/>
            <a:p>
              <a:pPr algn="ctr"/>
              <a:r>
                <a:rPr lang="en-US" sz="1800" dirty="0">
                  <a:solidFill>
                    <a:schemeClr val="bg1"/>
                  </a:solidFill>
                  <a:cs typeface="Arial" pitchFamily="34" charset="0"/>
                </a:rPr>
                <a:t>Strategic alignment</a:t>
              </a:r>
            </a:p>
          </p:txBody>
        </p:sp>
        <p:sp>
          <p:nvSpPr>
            <p:cNvPr id="55" name="TextBox 54">
              <a:extLst>
                <a:ext uri="{FF2B5EF4-FFF2-40B4-BE49-F238E27FC236}">
                  <a16:creationId xmlns:a16="http://schemas.microsoft.com/office/drawing/2014/main" id="{B6BBF957-02CB-4753-8A2A-72CFCA193CD0}"/>
                </a:ext>
              </a:extLst>
            </p:cNvPr>
            <p:cNvSpPr txBox="1"/>
            <p:nvPr/>
          </p:nvSpPr>
          <p:spPr>
            <a:xfrm>
              <a:off x="5572703" y="2590799"/>
              <a:ext cx="1316887" cy="438962"/>
            </a:xfrm>
            <a:prstGeom prst="rect">
              <a:avLst/>
            </a:prstGeom>
            <a:noFill/>
            <a:effectLst/>
          </p:spPr>
          <p:txBody>
            <a:bodyPr wrap="none" rtlCol="0">
              <a:spAutoFit/>
            </a:bodyPr>
            <a:lstStyle/>
            <a:p>
              <a:pPr algn="ctr"/>
              <a:r>
                <a:rPr lang="en-US" sz="1800" dirty="0">
                  <a:solidFill>
                    <a:schemeClr val="bg1"/>
                  </a:solidFill>
                  <a:cs typeface="Arial" pitchFamily="34" charset="0"/>
                </a:rPr>
                <a:t>Revenue</a:t>
              </a:r>
            </a:p>
          </p:txBody>
        </p:sp>
        <p:sp>
          <p:nvSpPr>
            <p:cNvPr id="56" name="TextBox 55">
              <a:extLst>
                <a:ext uri="{FF2B5EF4-FFF2-40B4-BE49-F238E27FC236}">
                  <a16:creationId xmlns:a16="http://schemas.microsoft.com/office/drawing/2014/main" id="{021B3EC8-FEE0-4DE5-A9ED-9B096D09C664}"/>
                </a:ext>
              </a:extLst>
            </p:cNvPr>
            <p:cNvSpPr txBox="1"/>
            <p:nvPr/>
          </p:nvSpPr>
          <p:spPr>
            <a:xfrm>
              <a:off x="5702254" y="3519714"/>
              <a:ext cx="1057777" cy="438962"/>
            </a:xfrm>
            <a:prstGeom prst="rect">
              <a:avLst/>
            </a:prstGeom>
            <a:noFill/>
            <a:effectLst/>
          </p:spPr>
          <p:txBody>
            <a:bodyPr wrap="none" rtlCol="0">
              <a:spAutoFit/>
            </a:bodyPr>
            <a:lstStyle/>
            <a:p>
              <a:pPr algn="ctr"/>
              <a:r>
                <a:rPr lang="en-US" sz="1800" dirty="0">
                  <a:solidFill>
                    <a:schemeClr val="bg1"/>
                  </a:solidFill>
                  <a:cs typeface="Arial" pitchFamily="34" charset="0"/>
                </a:rPr>
                <a:t>Market</a:t>
              </a:r>
            </a:p>
          </p:txBody>
        </p:sp>
        <p:sp>
          <p:nvSpPr>
            <p:cNvPr id="57" name="TextBox 56">
              <a:extLst>
                <a:ext uri="{FF2B5EF4-FFF2-40B4-BE49-F238E27FC236}">
                  <a16:creationId xmlns:a16="http://schemas.microsoft.com/office/drawing/2014/main" id="{60A302CD-8BA3-4164-A028-36B7D833D215}"/>
                </a:ext>
              </a:extLst>
            </p:cNvPr>
            <p:cNvSpPr txBox="1"/>
            <p:nvPr/>
          </p:nvSpPr>
          <p:spPr>
            <a:xfrm>
              <a:off x="5450768" y="4372428"/>
              <a:ext cx="1560753" cy="438962"/>
            </a:xfrm>
            <a:prstGeom prst="rect">
              <a:avLst/>
            </a:prstGeom>
            <a:noFill/>
            <a:effectLst/>
          </p:spPr>
          <p:txBody>
            <a:bodyPr wrap="none" rtlCol="0">
              <a:spAutoFit/>
            </a:bodyPr>
            <a:lstStyle/>
            <a:p>
              <a:pPr algn="ctr"/>
              <a:r>
                <a:rPr lang="en-US" dirty="0">
                  <a:solidFill>
                    <a:schemeClr val="bg1"/>
                  </a:solidFill>
                  <a:cs typeface="Arial" pitchFamily="34" charset="0"/>
                </a:rPr>
                <a:t>Positioning</a:t>
              </a:r>
            </a:p>
          </p:txBody>
        </p:sp>
        <p:sp>
          <p:nvSpPr>
            <p:cNvPr id="58" name="TextBox 57">
              <a:extLst>
                <a:ext uri="{FF2B5EF4-FFF2-40B4-BE49-F238E27FC236}">
                  <a16:creationId xmlns:a16="http://schemas.microsoft.com/office/drawing/2014/main" id="{39B1B9DF-818B-4061-B61E-D8FD2EB8FCA5}"/>
                </a:ext>
              </a:extLst>
            </p:cNvPr>
            <p:cNvSpPr txBox="1"/>
            <p:nvPr/>
          </p:nvSpPr>
          <p:spPr>
            <a:xfrm>
              <a:off x="5529664" y="5236028"/>
              <a:ext cx="1402948" cy="369332"/>
            </a:xfrm>
            <a:prstGeom prst="rect">
              <a:avLst/>
            </a:prstGeom>
            <a:no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stStyle>
            <a:p>
              <a:pPr algn="ctr"/>
              <a:r>
                <a:rPr lang="en-US" dirty="0">
                  <a:solidFill>
                    <a:schemeClr val="bg1"/>
                  </a:solidFill>
                  <a:cs typeface="Arial" pitchFamily="34" charset="0"/>
                </a:rPr>
                <a:t>Risk</a:t>
              </a:r>
            </a:p>
          </p:txBody>
        </p:sp>
      </p:grpSp>
      <p:sp>
        <p:nvSpPr>
          <p:cNvPr id="59" name="TextBox 58">
            <a:extLst>
              <a:ext uri="{FF2B5EF4-FFF2-40B4-BE49-F238E27FC236}">
                <a16:creationId xmlns:a16="http://schemas.microsoft.com/office/drawing/2014/main" id="{47D07FE2-2696-4C97-8F35-2CE77D3847CA}"/>
              </a:ext>
            </a:extLst>
          </p:cNvPr>
          <p:cNvSpPr txBox="1"/>
          <p:nvPr/>
        </p:nvSpPr>
        <p:spPr>
          <a:xfrm>
            <a:off x="8282225" y="2293414"/>
            <a:ext cx="3642169" cy="738664"/>
          </a:xfrm>
          <a:prstGeom prst="rect">
            <a:avLst/>
          </a:prstGeom>
          <a:noFill/>
        </p:spPr>
        <p:txBody>
          <a:bodyPr wrap="square" rtlCol="0">
            <a:spAutoFit/>
          </a:bodyPr>
          <a:lstStyle/>
          <a:p>
            <a:r>
              <a:rPr lang="en-US" sz="1400" b="1" kern="0" dirty="0">
                <a:cs typeface="Arial" pitchFamily="34" charset="0"/>
              </a:rPr>
              <a:t>The acquisition of the target company needs to help us reach at least one of our M&amp;A strategic objectives</a:t>
            </a:r>
            <a:endParaRPr lang="en-US" sz="1400" b="1" dirty="0"/>
          </a:p>
        </p:txBody>
      </p:sp>
      <p:sp>
        <p:nvSpPr>
          <p:cNvPr id="60" name="TextBox 59">
            <a:extLst>
              <a:ext uri="{FF2B5EF4-FFF2-40B4-BE49-F238E27FC236}">
                <a16:creationId xmlns:a16="http://schemas.microsoft.com/office/drawing/2014/main" id="{EC994E38-37BF-4241-ADAB-2AE4B667994E}"/>
              </a:ext>
            </a:extLst>
          </p:cNvPr>
          <p:cNvSpPr txBox="1"/>
          <p:nvPr/>
        </p:nvSpPr>
        <p:spPr>
          <a:xfrm>
            <a:off x="8282225" y="3903663"/>
            <a:ext cx="3304937" cy="523220"/>
          </a:xfrm>
          <a:prstGeom prst="rect">
            <a:avLst/>
          </a:prstGeom>
          <a:noFill/>
        </p:spPr>
        <p:txBody>
          <a:bodyPr wrap="square" rtlCol="0">
            <a:spAutoFit/>
          </a:bodyPr>
          <a:lstStyle/>
          <a:p>
            <a:r>
              <a:rPr lang="en-US" sz="1400" b="1" kern="0" dirty="0">
                <a:cs typeface="Arial" pitchFamily="34" charset="0"/>
              </a:rPr>
              <a:t>The target company needs to sell its products mainly in the Asian market</a:t>
            </a:r>
            <a:endParaRPr lang="en-US" sz="1400" b="1" dirty="0"/>
          </a:p>
        </p:txBody>
      </p:sp>
      <p:sp>
        <p:nvSpPr>
          <p:cNvPr id="61" name="TextBox 60">
            <a:extLst>
              <a:ext uri="{FF2B5EF4-FFF2-40B4-BE49-F238E27FC236}">
                <a16:creationId xmlns:a16="http://schemas.microsoft.com/office/drawing/2014/main" id="{63F7EB39-9B80-4769-B09D-ECBBC2A6CE88}"/>
              </a:ext>
            </a:extLst>
          </p:cNvPr>
          <p:cNvSpPr txBox="1"/>
          <p:nvPr/>
        </p:nvSpPr>
        <p:spPr>
          <a:xfrm>
            <a:off x="8282226" y="5249520"/>
            <a:ext cx="3304936" cy="738664"/>
          </a:xfrm>
          <a:prstGeom prst="rect">
            <a:avLst/>
          </a:prstGeom>
          <a:noFill/>
        </p:spPr>
        <p:txBody>
          <a:bodyPr wrap="square" rtlCol="0">
            <a:spAutoFit/>
          </a:bodyPr>
          <a:lstStyle/>
          <a:p>
            <a:r>
              <a:rPr lang="en-GB" sz="1400" b="1" kern="0" dirty="0">
                <a:cs typeface="Arial" pitchFamily="34" charset="0"/>
              </a:rPr>
              <a:t>Acceptable impact on the Group’s financial and non-financial risk profile</a:t>
            </a:r>
            <a:endParaRPr lang="en-US" sz="1400" b="1" dirty="0"/>
          </a:p>
        </p:txBody>
      </p:sp>
      <p:sp>
        <p:nvSpPr>
          <p:cNvPr id="62" name="TextBox 61">
            <a:extLst>
              <a:ext uri="{FF2B5EF4-FFF2-40B4-BE49-F238E27FC236}">
                <a16:creationId xmlns:a16="http://schemas.microsoft.com/office/drawing/2014/main" id="{066FFD46-14D4-43F4-A930-149DC8CEE749}"/>
              </a:ext>
            </a:extLst>
          </p:cNvPr>
          <p:cNvSpPr txBox="1"/>
          <p:nvPr/>
        </p:nvSpPr>
        <p:spPr>
          <a:xfrm>
            <a:off x="1010142" y="3075109"/>
            <a:ext cx="2899632" cy="523220"/>
          </a:xfrm>
          <a:prstGeom prst="rect">
            <a:avLst/>
          </a:prstGeom>
          <a:noFill/>
        </p:spPr>
        <p:txBody>
          <a:bodyPr wrap="square" rtlCol="0">
            <a:spAutoFit/>
          </a:bodyPr>
          <a:lstStyle/>
          <a:p>
            <a:r>
              <a:rPr lang="en-US" sz="1400" b="1" kern="0" dirty="0">
                <a:cs typeface="Arial" pitchFamily="34" charset="0"/>
              </a:rPr>
              <a:t>The target company needs to have a revenue above $10M</a:t>
            </a:r>
            <a:endParaRPr lang="en-US" sz="1400" b="1" dirty="0"/>
          </a:p>
        </p:txBody>
      </p:sp>
      <p:sp>
        <p:nvSpPr>
          <p:cNvPr id="63" name="TextBox 62">
            <a:extLst>
              <a:ext uri="{FF2B5EF4-FFF2-40B4-BE49-F238E27FC236}">
                <a16:creationId xmlns:a16="http://schemas.microsoft.com/office/drawing/2014/main" id="{61087AA6-5327-4B82-993E-69A1259B9DAB}"/>
              </a:ext>
            </a:extLst>
          </p:cNvPr>
          <p:cNvSpPr txBox="1"/>
          <p:nvPr/>
        </p:nvSpPr>
        <p:spPr>
          <a:xfrm>
            <a:off x="720436" y="4594633"/>
            <a:ext cx="3189338" cy="738664"/>
          </a:xfrm>
          <a:prstGeom prst="rect">
            <a:avLst/>
          </a:prstGeom>
          <a:noFill/>
        </p:spPr>
        <p:txBody>
          <a:bodyPr wrap="square" rtlCol="0">
            <a:spAutoFit/>
          </a:bodyPr>
          <a:lstStyle/>
          <a:p>
            <a:r>
              <a:rPr lang="en-US" sz="1400" b="1" kern="0" dirty="0">
                <a:cs typeface="Arial" pitchFamily="34" charset="0"/>
              </a:rPr>
              <a:t>The target company needs to have a premium positioning and good reputation</a:t>
            </a:r>
            <a:endParaRPr lang="en-US" sz="1400" b="1" dirty="0"/>
          </a:p>
        </p:txBody>
      </p:sp>
      <p:pic>
        <p:nvPicPr>
          <p:cNvPr id="4" name="Graphic 3" descr="Building with solid fill">
            <a:extLst>
              <a:ext uri="{FF2B5EF4-FFF2-40B4-BE49-F238E27FC236}">
                <a16:creationId xmlns:a16="http://schemas.microsoft.com/office/drawing/2014/main" id="{325EE201-69AA-4933-ABAD-008FDAA5E4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49088" y="1684562"/>
            <a:ext cx="506818" cy="506818"/>
          </a:xfrm>
          <a:prstGeom prst="rect">
            <a:avLst/>
          </a:prstGeom>
        </p:spPr>
      </p:pic>
      <p:pic>
        <p:nvPicPr>
          <p:cNvPr id="76" name="Graphic 75" descr="Building with solid fill">
            <a:extLst>
              <a:ext uri="{FF2B5EF4-FFF2-40B4-BE49-F238E27FC236}">
                <a16:creationId xmlns:a16="http://schemas.microsoft.com/office/drawing/2014/main" id="{3C03AECA-1AE2-4B66-A3F4-995A498468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26017" y="1684562"/>
            <a:ext cx="506818" cy="506818"/>
          </a:xfrm>
          <a:prstGeom prst="rect">
            <a:avLst/>
          </a:prstGeom>
        </p:spPr>
      </p:pic>
      <p:pic>
        <p:nvPicPr>
          <p:cNvPr id="77" name="Graphic 76" descr="Building with solid fill">
            <a:extLst>
              <a:ext uri="{FF2B5EF4-FFF2-40B4-BE49-F238E27FC236}">
                <a16:creationId xmlns:a16="http://schemas.microsoft.com/office/drawing/2014/main" id="{80E979AA-A232-40A3-91CB-4976D10203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2946" y="1684562"/>
            <a:ext cx="506818" cy="506818"/>
          </a:xfrm>
          <a:prstGeom prst="rect">
            <a:avLst/>
          </a:prstGeom>
        </p:spPr>
      </p:pic>
      <p:pic>
        <p:nvPicPr>
          <p:cNvPr id="78" name="Graphic 77" descr="Building with solid fill">
            <a:extLst>
              <a:ext uri="{FF2B5EF4-FFF2-40B4-BE49-F238E27FC236}">
                <a16:creationId xmlns:a16="http://schemas.microsoft.com/office/drawing/2014/main" id="{1D31D3E2-EED1-4C85-A884-A816E69943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79875" y="1684562"/>
            <a:ext cx="506818" cy="506818"/>
          </a:xfrm>
          <a:prstGeom prst="rect">
            <a:avLst/>
          </a:prstGeom>
        </p:spPr>
      </p:pic>
      <p:pic>
        <p:nvPicPr>
          <p:cNvPr id="79" name="Graphic 78" descr="Building with solid fill">
            <a:extLst>
              <a:ext uri="{FF2B5EF4-FFF2-40B4-BE49-F238E27FC236}">
                <a16:creationId xmlns:a16="http://schemas.microsoft.com/office/drawing/2014/main" id="{3FC4BA47-6FF7-44DE-8366-543F245633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56804" y="1684562"/>
            <a:ext cx="506818" cy="506818"/>
          </a:xfrm>
          <a:prstGeom prst="rect">
            <a:avLst/>
          </a:prstGeom>
        </p:spPr>
      </p:pic>
      <p:pic>
        <p:nvPicPr>
          <p:cNvPr id="80" name="Graphic 79" descr="Building with solid fill">
            <a:extLst>
              <a:ext uri="{FF2B5EF4-FFF2-40B4-BE49-F238E27FC236}">
                <a16:creationId xmlns:a16="http://schemas.microsoft.com/office/drawing/2014/main" id="{79D1351A-400A-4388-9C79-3E504F8E79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33733" y="1684562"/>
            <a:ext cx="506818" cy="506818"/>
          </a:xfrm>
          <a:prstGeom prst="rect">
            <a:avLst/>
          </a:prstGeom>
        </p:spPr>
      </p:pic>
      <p:pic>
        <p:nvPicPr>
          <p:cNvPr id="81" name="Graphic 80" descr="Building with solid fill">
            <a:extLst>
              <a:ext uri="{FF2B5EF4-FFF2-40B4-BE49-F238E27FC236}">
                <a16:creationId xmlns:a16="http://schemas.microsoft.com/office/drawing/2014/main" id="{8C0429A2-B28E-4B6D-B2D7-7E3FEF861E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0662" y="1684562"/>
            <a:ext cx="506818" cy="506818"/>
          </a:xfrm>
          <a:prstGeom prst="rect">
            <a:avLst/>
          </a:prstGeom>
        </p:spPr>
      </p:pic>
      <p:pic>
        <p:nvPicPr>
          <p:cNvPr id="82" name="Graphic 81" descr="Building with solid fill">
            <a:extLst>
              <a:ext uri="{FF2B5EF4-FFF2-40B4-BE49-F238E27FC236}">
                <a16:creationId xmlns:a16="http://schemas.microsoft.com/office/drawing/2014/main" id="{CADC6DDD-A32A-4D63-8A1D-9883C95AE6C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7591" y="1684562"/>
            <a:ext cx="506818" cy="506818"/>
          </a:xfrm>
          <a:prstGeom prst="rect">
            <a:avLst/>
          </a:prstGeom>
        </p:spPr>
      </p:pic>
      <p:pic>
        <p:nvPicPr>
          <p:cNvPr id="83" name="Graphic 82" descr="Building with solid fill">
            <a:extLst>
              <a:ext uri="{FF2B5EF4-FFF2-40B4-BE49-F238E27FC236}">
                <a16:creationId xmlns:a16="http://schemas.microsoft.com/office/drawing/2014/main" id="{78F446D5-4B6B-4F0F-9E6D-12EB69C50F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64522" y="1684562"/>
            <a:ext cx="506818" cy="506818"/>
          </a:xfrm>
          <a:prstGeom prst="rect">
            <a:avLst/>
          </a:prstGeom>
        </p:spPr>
      </p:pic>
      <p:pic>
        <p:nvPicPr>
          <p:cNvPr id="84" name="Graphic 83" descr="Building with solid fill">
            <a:extLst>
              <a:ext uri="{FF2B5EF4-FFF2-40B4-BE49-F238E27FC236}">
                <a16:creationId xmlns:a16="http://schemas.microsoft.com/office/drawing/2014/main" id="{1D3A5DB3-E4B9-4A48-B4DA-F6C47A69D7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5291" y="6016082"/>
            <a:ext cx="506818" cy="506818"/>
          </a:xfrm>
          <a:prstGeom prst="rect">
            <a:avLst/>
          </a:prstGeom>
        </p:spPr>
      </p:pic>
      <p:pic>
        <p:nvPicPr>
          <p:cNvPr id="85" name="Graphic 84" descr="Building with solid fill">
            <a:extLst>
              <a:ext uri="{FF2B5EF4-FFF2-40B4-BE49-F238E27FC236}">
                <a16:creationId xmlns:a16="http://schemas.microsoft.com/office/drawing/2014/main" id="{54E201D2-79A7-4295-8250-B0552A5EF6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2220" y="6016082"/>
            <a:ext cx="506818" cy="506818"/>
          </a:xfrm>
          <a:prstGeom prst="rect">
            <a:avLst/>
          </a:prstGeom>
        </p:spPr>
      </p:pic>
      <p:pic>
        <p:nvPicPr>
          <p:cNvPr id="86" name="Graphic 85" descr="Building with solid fill">
            <a:extLst>
              <a:ext uri="{FF2B5EF4-FFF2-40B4-BE49-F238E27FC236}">
                <a16:creationId xmlns:a16="http://schemas.microsoft.com/office/drawing/2014/main" id="{CA97928E-E0C0-4670-A968-93218FEA53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89149" y="6016082"/>
            <a:ext cx="506818" cy="506818"/>
          </a:xfrm>
          <a:prstGeom prst="rect">
            <a:avLst/>
          </a:prstGeom>
        </p:spPr>
      </p:pic>
      <p:sp>
        <p:nvSpPr>
          <p:cNvPr id="87" name="Speech Bubble: Rectangle with Corners Rounded 86">
            <a:extLst>
              <a:ext uri="{FF2B5EF4-FFF2-40B4-BE49-F238E27FC236}">
                <a16:creationId xmlns:a16="http://schemas.microsoft.com/office/drawing/2014/main" id="{97A9D4FC-0843-4477-A7B4-85DA8107A3A5}"/>
              </a:ext>
            </a:extLst>
          </p:cNvPr>
          <p:cNvSpPr/>
          <p:nvPr/>
        </p:nvSpPr>
        <p:spPr bwMode="auto">
          <a:xfrm>
            <a:off x="8621062" y="1302971"/>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is an example. Replace this text using your own criteria.</a:t>
            </a:r>
            <a:endParaRPr lang="en-US" sz="1200" b="1" dirty="0">
              <a:solidFill>
                <a:srgbClr val="0C2870"/>
              </a:solidFill>
              <a:latin typeface="Arial" charset="0"/>
              <a:cs typeface="Times New Roman" pitchFamily="18" charset="0"/>
            </a:endParaRPr>
          </a:p>
        </p:txBody>
      </p:sp>
      <p:sp>
        <p:nvSpPr>
          <p:cNvPr id="2" name="Rectangle: Rounded Corners 1">
            <a:extLst>
              <a:ext uri="{FF2B5EF4-FFF2-40B4-BE49-F238E27FC236}">
                <a16:creationId xmlns:a16="http://schemas.microsoft.com/office/drawing/2014/main" id="{AD68ABD4-D2C6-6DFC-6BE7-4BC3095AF42F}"/>
              </a:ext>
            </a:extLst>
          </p:cNvPr>
          <p:cNvSpPr/>
          <p:nvPr/>
        </p:nvSpPr>
        <p:spPr>
          <a:xfrm>
            <a:off x="10191867" y="237531"/>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29912357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29</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deliverable will focus on the first phase of our Mergers &amp; Acquisitions 6-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95" name="Chevron 10">
            <a:extLst>
              <a:ext uri="{FF2B5EF4-FFF2-40B4-BE49-F238E27FC236}">
                <a16:creationId xmlns:a16="http://schemas.microsoft.com/office/drawing/2014/main" id="{F9AEBB61-023F-033E-4A3C-8A423C7DD159}"/>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96" name="Chevron 12">
            <a:extLst>
              <a:ext uri="{FF2B5EF4-FFF2-40B4-BE49-F238E27FC236}">
                <a16:creationId xmlns:a16="http://schemas.microsoft.com/office/drawing/2014/main" id="{A248D930-7E21-E3A9-4FF5-F1E252F75964}"/>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97" name="Chevron 14">
            <a:extLst>
              <a:ext uri="{FF2B5EF4-FFF2-40B4-BE49-F238E27FC236}">
                <a16:creationId xmlns:a16="http://schemas.microsoft.com/office/drawing/2014/main" id="{46989CD0-7D4F-7C5B-33A8-5135BF242C7B}"/>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98" name="Chevron 17">
            <a:extLst>
              <a:ext uri="{FF2B5EF4-FFF2-40B4-BE49-F238E27FC236}">
                <a16:creationId xmlns:a16="http://schemas.microsoft.com/office/drawing/2014/main" id="{3DA023A6-87D7-7548-38A0-DE3CC2D9B6BA}"/>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99" name="Chevron 103">
            <a:extLst>
              <a:ext uri="{FF2B5EF4-FFF2-40B4-BE49-F238E27FC236}">
                <a16:creationId xmlns:a16="http://schemas.microsoft.com/office/drawing/2014/main" id="{E3DE9418-DD80-BF8D-78ED-060C795B8A83}"/>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100" name="Chevron 167">
            <a:extLst>
              <a:ext uri="{FF2B5EF4-FFF2-40B4-BE49-F238E27FC236}">
                <a16:creationId xmlns:a16="http://schemas.microsoft.com/office/drawing/2014/main" id="{441726F8-A105-D82D-A799-6F21C5860ACD}"/>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101" name="Graphic 100" descr="Checklist">
            <a:extLst>
              <a:ext uri="{FF2B5EF4-FFF2-40B4-BE49-F238E27FC236}">
                <a16:creationId xmlns:a16="http://schemas.microsoft.com/office/drawing/2014/main" id="{A9D951C8-38DB-75FC-75CA-B9A0AF75EBF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2" name="Graphic 101" descr="Handshake">
            <a:extLst>
              <a:ext uri="{FF2B5EF4-FFF2-40B4-BE49-F238E27FC236}">
                <a16:creationId xmlns:a16="http://schemas.microsoft.com/office/drawing/2014/main" id="{50C66AAC-EA17-4A24-94E6-7442FBFA648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03" name="Graphic 102" descr="Magnifying glass">
            <a:extLst>
              <a:ext uri="{FF2B5EF4-FFF2-40B4-BE49-F238E27FC236}">
                <a16:creationId xmlns:a16="http://schemas.microsoft.com/office/drawing/2014/main" id="{0E0921E1-4494-158C-AF25-EB78959B4F5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04" name="Graphic 103" descr="Map compass">
            <a:extLst>
              <a:ext uri="{FF2B5EF4-FFF2-40B4-BE49-F238E27FC236}">
                <a16:creationId xmlns:a16="http://schemas.microsoft.com/office/drawing/2014/main" id="{DBC1E9AD-5CF0-635C-4EAA-B45C02F5623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05" name="Graphic 104" descr="Gears">
            <a:extLst>
              <a:ext uri="{FF2B5EF4-FFF2-40B4-BE49-F238E27FC236}">
                <a16:creationId xmlns:a16="http://schemas.microsoft.com/office/drawing/2014/main" id="{7CA57716-298D-7F00-9A72-18A7B317FB2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06" name="Straight Connector 105">
            <a:extLst>
              <a:ext uri="{FF2B5EF4-FFF2-40B4-BE49-F238E27FC236}">
                <a16:creationId xmlns:a16="http://schemas.microsoft.com/office/drawing/2014/main" id="{86F3E006-55F4-52CA-7233-A4187AD54EE3}"/>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1A63EF9-A6E2-16FB-980D-0A9426E7031E}"/>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EFD8137-79CA-104A-B6D7-4336F255F3A8}"/>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6FD4F9B-C670-D3F7-BE16-565350D00DAD}"/>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7059F0A-5FAA-611E-6A15-D269EAE54843}"/>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8B90E3BF-32EA-D803-9E16-063B3441F850}"/>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112" name="Rectangle 111">
            <a:extLst>
              <a:ext uri="{FF2B5EF4-FFF2-40B4-BE49-F238E27FC236}">
                <a16:creationId xmlns:a16="http://schemas.microsoft.com/office/drawing/2014/main" id="{54EC6DDE-A900-8FA9-3359-552ABCFADAC2}"/>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113" name="Rectangle 112">
            <a:extLst>
              <a:ext uri="{FF2B5EF4-FFF2-40B4-BE49-F238E27FC236}">
                <a16:creationId xmlns:a16="http://schemas.microsoft.com/office/drawing/2014/main" id="{F77CD519-21C9-7E80-8028-F5743DFB0A58}"/>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114" name="Rectangle 113">
            <a:extLst>
              <a:ext uri="{FF2B5EF4-FFF2-40B4-BE49-F238E27FC236}">
                <a16:creationId xmlns:a16="http://schemas.microsoft.com/office/drawing/2014/main" id="{82408C3F-8759-38DB-6B83-3C735466E726}"/>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115" name="Rectangle 114">
            <a:extLst>
              <a:ext uri="{FF2B5EF4-FFF2-40B4-BE49-F238E27FC236}">
                <a16:creationId xmlns:a16="http://schemas.microsoft.com/office/drawing/2014/main" id="{FA5C7A81-33EC-9983-1408-7B7A28A339E2}"/>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116" name="Graphic 115" descr="Statistics outline">
            <a:extLst>
              <a:ext uri="{FF2B5EF4-FFF2-40B4-BE49-F238E27FC236}">
                <a16:creationId xmlns:a16="http://schemas.microsoft.com/office/drawing/2014/main" id="{FC49EC94-2E2F-63FE-73B6-FBC21F71E34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117" name="Rectangle 116">
            <a:extLst>
              <a:ext uri="{FF2B5EF4-FFF2-40B4-BE49-F238E27FC236}">
                <a16:creationId xmlns:a16="http://schemas.microsoft.com/office/drawing/2014/main" id="{2A83E213-4DB3-E302-B919-A89C0C8EE9E0}"/>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110778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2" name="Chevron 10">
            <a:extLst>
              <a:ext uri="{FF2B5EF4-FFF2-40B4-BE49-F238E27FC236}">
                <a16:creationId xmlns:a16="http://schemas.microsoft.com/office/drawing/2014/main" id="{33D97927-951B-FDBC-405D-3FFA6888D7A0}"/>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57A88701-A0A5-713E-7940-085AF5621AFD}"/>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CAD1D868-AB3C-5455-8159-F8643B596C19}"/>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3E4293C1-4F6B-A357-5D74-015075BE87A3}"/>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6C6EF6E1-0290-2C7F-0617-99D6F7C7712C}"/>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D28EA6-1E48-682B-483A-1D2D9E557282}"/>
              </a:ext>
            </a:extLst>
          </p:cNvPr>
          <p:cNvSpPr/>
          <p:nvPr/>
        </p:nvSpPr>
        <p:spPr bwMode="auto">
          <a:xfrm>
            <a:off x="544029"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721546FE-C935-2E4C-FB18-478B4EA0E7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38E8AE53-703F-297B-FADE-47C4558406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BF72BEBC-7607-4D38-8563-C0E0EBC67C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48D680B0-3230-18D9-C149-1A41497BFF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8286D6B0-E6B0-25A6-2A38-606C6A43E16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BD60D347-99AE-F756-8D34-8A263B3F4C94}"/>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57F403-BA8B-5619-8B1E-6797017B7D70}"/>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8D9EE62-885D-2134-4421-C528EE663B4A}"/>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88AFE8-4F76-8249-9A59-2E178F544A5F}"/>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561BA85-1AC6-5196-E879-4CA641B433AA}"/>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759BC80-A51A-629C-D18B-EB55E14F4028}"/>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B0F0"/>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C4FFAE33-DF0B-2531-6B3F-484725368A6A}"/>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4" name="Rectangle 23">
            <a:extLst>
              <a:ext uri="{FF2B5EF4-FFF2-40B4-BE49-F238E27FC236}">
                <a16:creationId xmlns:a16="http://schemas.microsoft.com/office/drawing/2014/main" id="{CDFB8376-53D3-488E-62B2-7BEA339725AB}"/>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5" name="Rectangle 24">
            <a:extLst>
              <a:ext uri="{FF2B5EF4-FFF2-40B4-BE49-F238E27FC236}">
                <a16:creationId xmlns:a16="http://schemas.microsoft.com/office/drawing/2014/main" id="{11517964-E29F-E01D-939A-1EE093F5D62A}"/>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31" name="Rectangle 30">
            <a:extLst>
              <a:ext uri="{FF2B5EF4-FFF2-40B4-BE49-F238E27FC236}">
                <a16:creationId xmlns:a16="http://schemas.microsoft.com/office/drawing/2014/main" id="{84366F80-874E-98D9-7CAD-2FD7596B3AC0}"/>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32" name="Graphic 31" descr="Statistics outline">
            <a:extLst>
              <a:ext uri="{FF2B5EF4-FFF2-40B4-BE49-F238E27FC236}">
                <a16:creationId xmlns:a16="http://schemas.microsoft.com/office/drawing/2014/main" id="{1D71B061-859C-D5EC-1851-9CA707B3D20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3" name="Rectangle 32">
            <a:extLst>
              <a:ext uri="{FF2B5EF4-FFF2-40B4-BE49-F238E27FC236}">
                <a16:creationId xmlns:a16="http://schemas.microsoft.com/office/drawing/2014/main" id="{69D21339-09A4-2A06-3EB3-56BEF01B216F}"/>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762251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7CB83BD-BA5C-429A-B579-008A442C4480}"/>
              </a:ext>
            </a:extLst>
          </p:cNvPr>
          <p:cNvSpPr/>
          <p:nvPr/>
        </p:nvSpPr>
        <p:spPr>
          <a:xfrm>
            <a:off x="618835"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18" name="Rectangle 17">
            <a:extLst>
              <a:ext uri="{FF2B5EF4-FFF2-40B4-BE49-F238E27FC236}">
                <a16:creationId xmlns:a16="http://schemas.microsoft.com/office/drawing/2014/main" id="{6690B5F9-90B9-4DDB-8F95-51D207BE3335}"/>
              </a:ext>
            </a:extLst>
          </p:cNvPr>
          <p:cNvSpPr/>
          <p:nvPr/>
        </p:nvSpPr>
        <p:spPr>
          <a:xfrm>
            <a:off x="618835" y="2154202"/>
            <a:ext cx="5197464" cy="3286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is the company’s reason for existence or purpos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verarching intent of the organization.</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is usually defined during a workshop with the top managemen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should provide focus, direction and help guide decision making and action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should be one easy to understand sentence and, if required, a more details description below the main sentence.</a:t>
            </a: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8887032C-CE4E-4107-8157-6C8608EF9A32}"/>
              </a:ext>
            </a:extLst>
          </p:cNvPr>
          <p:cNvSpPr/>
          <p:nvPr/>
        </p:nvSpPr>
        <p:spPr>
          <a:xfrm>
            <a:off x="6389699"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22" name="Rectangle 21">
            <a:extLst>
              <a:ext uri="{FF2B5EF4-FFF2-40B4-BE49-F238E27FC236}">
                <a16:creationId xmlns:a16="http://schemas.microsoft.com/office/drawing/2014/main" id="{CC39D5EE-40EF-4CFB-9505-D1EFF3AF3535}"/>
              </a:ext>
            </a:extLst>
          </p:cNvPr>
          <p:cNvSpPr/>
          <p:nvPr/>
        </p:nvSpPr>
        <p:spPr>
          <a:xfrm>
            <a:off x="6389699" y="2154202"/>
            <a:ext cx="5197464" cy="3286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rganization desired or intended state at some point in the near or distant futur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verarching aim of the organization as it progresses into the futur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Like the Mission Statement, it is usually defined during a workshop with the top managemen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should provide focus, direction and help guide decision making and action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should be one easy to understand sentence and, if required, a more details description below the main sentenc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hat do we mean by company mission statement, vision statement and value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5</a:t>
            </a:fld>
            <a:endParaRPr lang="en-US" dirty="0">
              <a:solidFill>
                <a:srgbClr val="ADAFBB"/>
              </a:solidFill>
            </a:endParaRPr>
          </a:p>
        </p:txBody>
      </p:sp>
      <p:sp>
        <p:nvSpPr>
          <p:cNvPr id="9" name="Rectangle 8">
            <a:extLst>
              <a:ext uri="{FF2B5EF4-FFF2-40B4-BE49-F238E27FC236}">
                <a16:creationId xmlns:a16="http://schemas.microsoft.com/office/drawing/2014/main" id="{82B3D055-7B95-41B2-9B4B-EDD5F3212EC0}"/>
              </a:ext>
            </a:extLst>
          </p:cNvPr>
          <p:cNvSpPr/>
          <p:nvPr/>
        </p:nvSpPr>
        <p:spPr>
          <a:xfrm>
            <a:off x="618835" y="5532582"/>
            <a:ext cx="10954330" cy="781131"/>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chemeClr val="tx1"/>
                </a:solidFill>
                <a:effectLst/>
                <a:uLnTx/>
                <a:uFillTx/>
                <a:latin typeface="Arial" panose="020B0604020202020204"/>
                <a:ea typeface="+mn-ea"/>
                <a:cs typeface="+mn-cs"/>
              </a:rPr>
              <a:t>Company values (also called corporate values or core values) are fundamental beliefs that help a group of people function together as a team and work toward a common business goal. These values are often related to business relationships, customer relationships, and company growth. Company values don’t have to be unique. They should be what your company wants to see in itself and its employees. Some examples of company values from global fortune 1000 companies are: trust, accountability, respect, simplicity, value-centricity</a:t>
            </a:r>
            <a:endParaRPr kumimoji="0" lang="en-AU" sz="12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2122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7CB83BD-BA5C-429A-B579-008A442C4480}"/>
              </a:ext>
            </a:extLst>
          </p:cNvPr>
          <p:cNvSpPr/>
          <p:nvPr/>
        </p:nvSpPr>
        <p:spPr>
          <a:xfrm>
            <a:off x="618835"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18" name="Rectangle 17">
            <a:extLst>
              <a:ext uri="{FF2B5EF4-FFF2-40B4-BE49-F238E27FC236}">
                <a16:creationId xmlns:a16="http://schemas.microsoft.com/office/drawing/2014/main" id="{6690B5F9-90B9-4DDB-8F95-51D207BE3335}"/>
              </a:ext>
            </a:extLst>
          </p:cNvPr>
          <p:cNvSpPr/>
          <p:nvPr/>
        </p:nvSpPr>
        <p:spPr>
          <a:xfrm>
            <a:off x="618835" y="2154202"/>
            <a:ext cx="5197464" cy="3286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is the company’s reason for existence or purpos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verarching intent of the organization.</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is usually defined during a workshop with the top managemen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should provide focus, direction and help guide decision making and action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should be one easy to understand sentence and, if required, a more details description below the main sentence.</a:t>
            </a: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8887032C-CE4E-4107-8157-6C8608EF9A32}"/>
              </a:ext>
            </a:extLst>
          </p:cNvPr>
          <p:cNvSpPr/>
          <p:nvPr/>
        </p:nvSpPr>
        <p:spPr>
          <a:xfrm>
            <a:off x="6389699"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22" name="Rectangle 21">
            <a:extLst>
              <a:ext uri="{FF2B5EF4-FFF2-40B4-BE49-F238E27FC236}">
                <a16:creationId xmlns:a16="http://schemas.microsoft.com/office/drawing/2014/main" id="{CC39D5EE-40EF-4CFB-9505-D1EFF3AF3535}"/>
              </a:ext>
            </a:extLst>
          </p:cNvPr>
          <p:cNvSpPr/>
          <p:nvPr/>
        </p:nvSpPr>
        <p:spPr>
          <a:xfrm>
            <a:off x="6389699" y="2154202"/>
            <a:ext cx="5197464" cy="3286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rganization desired or intended state at some point in the near or distant futur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verarching aim of the organization as it progresses into the futur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Like the Mission Statement, it is usually defined during a workshop with the top managemen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should provide focus, direction and help guide decision making and action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t should be one easy to understand sentence and, if required, a more details description below the main sentenc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hat do we mean by company mission statement, vision statement and value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6</a:t>
            </a:fld>
            <a:endParaRPr lang="en-US" dirty="0">
              <a:solidFill>
                <a:srgbClr val="ADAFBB"/>
              </a:solidFill>
            </a:endParaRPr>
          </a:p>
        </p:txBody>
      </p:sp>
      <p:sp>
        <p:nvSpPr>
          <p:cNvPr id="9" name="Rectangle 8">
            <a:extLst>
              <a:ext uri="{FF2B5EF4-FFF2-40B4-BE49-F238E27FC236}">
                <a16:creationId xmlns:a16="http://schemas.microsoft.com/office/drawing/2014/main" id="{82B3D055-7B95-41B2-9B4B-EDD5F3212EC0}"/>
              </a:ext>
            </a:extLst>
          </p:cNvPr>
          <p:cNvSpPr/>
          <p:nvPr/>
        </p:nvSpPr>
        <p:spPr>
          <a:xfrm>
            <a:off x="618835" y="5532582"/>
            <a:ext cx="10954330" cy="781131"/>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chemeClr val="tx1"/>
                </a:solidFill>
                <a:effectLst/>
                <a:uLnTx/>
                <a:uFillTx/>
                <a:latin typeface="Arial" panose="020B0604020202020204"/>
                <a:ea typeface="+mn-ea"/>
                <a:cs typeface="+mn-cs"/>
              </a:rPr>
              <a:t>Company values (also called corporate values or core values) are fundamental beliefs that help a group of people function together as a team and work toward a common business goal. These values are often related to business relationships, customer relationships, and company growth. Company values don’t have to be unique. They should be what your company wants to see in itself and its employees. Some examples of company values from global fortune 1000 companies are: trust, accountability, respect, simplicity, value-centricity</a:t>
            </a:r>
            <a:endParaRPr kumimoji="0" lang="en-AU" sz="120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0" name="Rounded Rectangular Callout 19">
            <a:extLst>
              <a:ext uri="{FF2B5EF4-FFF2-40B4-BE49-F238E27FC236}">
                <a16:creationId xmlns:a16="http://schemas.microsoft.com/office/drawing/2014/main" id="{B94A5D4E-D256-49E8-B523-2F698B1EC2FD}"/>
              </a:ext>
            </a:extLst>
          </p:cNvPr>
          <p:cNvSpPr/>
          <p:nvPr/>
        </p:nvSpPr>
        <p:spPr bwMode="auto">
          <a:xfrm>
            <a:off x="4802909" y="947110"/>
            <a:ext cx="6779491" cy="601698"/>
          </a:xfrm>
          <a:prstGeom prst="wedgeRoundRectCallout">
            <a:avLst>
              <a:gd name="adj1" fmla="val -32848"/>
              <a:gd name="adj2" fmla="val 13568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e recommend you to keep this slide in your deliverable to ensure a shared understanding of what mission statement, vision statement and values mean. Indeed, people within your organization may have different definitions, which may cause misunderstanding.</a:t>
            </a:r>
          </a:p>
        </p:txBody>
      </p:sp>
      <p:sp>
        <p:nvSpPr>
          <p:cNvPr id="3" name="Rectangle: Rounded Corners 2">
            <a:extLst>
              <a:ext uri="{FF2B5EF4-FFF2-40B4-BE49-F238E27FC236}">
                <a16:creationId xmlns:a16="http://schemas.microsoft.com/office/drawing/2014/main" id="{931709FB-B326-2B6A-E0B4-E639EF3E240C}"/>
              </a:ext>
            </a:extLst>
          </p:cNvPr>
          <p:cNvSpPr/>
          <p:nvPr/>
        </p:nvSpPr>
        <p:spPr>
          <a:xfrm>
            <a:off x="10191867" y="237531"/>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Best Practices</a:t>
            </a:r>
          </a:p>
        </p:txBody>
      </p:sp>
    </p:spTree>
    <p:extLst>
      <p:ext uri="{BB962C8B-B14F-4D97-AF65-F5344CB8AC3E}">
        <p14:creationId xmlns:p14="http://schemas.microsoft.com/office/powerpoint/2010/main" val="6789766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7CB83BD-BA5C-429A-B579-008A442C4480}"/>
              </a:ext>
            </a:extLst>
          </p:cNvPr>
          <p:cNvSpPr/>
          <p:nvPr/>
        </p:nvSpPr>
        <p:spPr>
          <a:xfrm>
            <a:off x="618835"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18" name="Rectangle 17">
            <a:extLst>
              <a:ext uri="{FF2B5EF4-FFF2-40B4-BE49-F238E27FC236}">
                <a16:creationId xmlns:a16="http://schemas.microsoft.com/office/drawing/2014/main" id="{6690B5F9-90B9-4DDB-8F95-51D207BE3335}"/>
              </a:ext>
            </a:extLst>
          </p:cNvPr>
          <p:cNvSpPr/>
          <p:nvPr/>
        </p:nvSpPr>
        <p:spPr>
          <a:xfrm>
            <a:off x="618835" y="2154202"/>
            <a:ext cx="5197464" cy="302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21" name="Rectangle 20">
            <a:extLst>
              <a:ext uri="{FF2B5EF4-FFF2-40B4-BE49-F238E27FC236}">
                <a16:creationId xmlns:a16="http://schemas.microsoft.com/office/drawing/2014/main" id="{8887032C-CE4E-4107-8157-6C8608EF9A32}"/>
              </a:ext>
            </a:extLst>
          </p:cNvPr>
          <p:cNvSpPr/>
          <p:nvPr/>
        </p:nvSpPr>
        <p:spPr>
          <a:xfrm>
            <a:off x="6389699" y="1676400"/>
            <a:ext cx="519746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22" name="Rectangle 21">
            <a:extLst>
              <a:ext uri="{FF2B5EF4-FFF2-40B4-BE49-F238E27FC236}">
                <a16:creationId xmlns:a16="http://schemas.microsoft.com/office/drawing/2014/main" id="{CC39D5EE-40EF-4CFB-9505-D1EFF3AF3535}"/>
              </a:ext>
            </a:extLst>
          </p:cNvPr>
          <p:cNvSpPr/>
          <p:nvPr/>
        </p:nvSpPr>
        <p:spPr>
          <a:xfrm>
            <a:off x="6389699" y="2154202"/>
            <a:ext cx="5197464" cy="302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mpany mission statement, vision statement and value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7</a:t>
            </a:fld>
            <a:endParaRPr lang="en-US" dirty="0">
              <a:solidFill>
                <a:srgbClr val="ADAFBB"/>
              </a:solidFill>
            </a:endParaRPr>
          </a:p>
        </p:txBody>
      </p:sp>
      <p:sp>
        <p:nvSpPr>
          <p:cNvPr id="9" name="Rectangle 8">
            <a:extLst>
              <a:ext uri="{FF2B5EF4-FFF2-40B4-BE49-F238E27FC236}">
                <a16:creationId xmlns:a16="http://schemas.microsoft.com/office/drawing/2014/main" id="{B769D6F6-AFD9-4EA9-B80A-33F28CA11BE0}"/>
              </a:ext>
            </a:extLst>
          </p:cNvPr>
          <p:cNvSpPr/>
          <p:nvPr/>
        </p:nvSpPr>
        <p:spPr>
          <a:xfrm>
            <a:off x="618835"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company value</a:t>
            </a:r>
          </a:p>
        </p:txBody>
      </p:sp>
      <p:sp>
        <p:nvSpPr>
          <p:cNvPr id="10" name="Rectangle 9">
            <a:extLst>
              <a:ext uri="{FF2B5EF4-FFF2-40B4-BE49-F238E27FC236}">
                <a16:creationId xmlns:a16="http://schemas.microsoft.com/office/drawing/2014/main" id="{5B7FFB86-AF8B-42F2-8248-7F825E9729B5}"/>
              </a:ext>
            </a:extLst>
          </p:cNvPr>
          <p:cNvSpPr/>
          <p:nvPr/>
        </p:nvSpPr>
        <p:spPr>
          <a:xfrm>
            <a:off x="2897862"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company value</a:t>
            </a:r>
          </a:p>
        </p:txBody>
      </p:sp>
      <p:sp>
        <p:nvSpPr>
          <p:cNvPr id="11" name="Rectangle 10">
            <a:extLst>
              <a:ext uri="{FF2B5EF4-FFF2-40B4-BE49-F238E27FC236}">
                <a16:creationId xmlns:a16="http://schemas.microsoft.com/office/drawing/2014/main" id="{9BCB142E-72D8-4305-9096-885998A95FB3}"/>
              </a:ext>
            </a:extLst>
          </p:cNvPr>
          <p:cNvSpPr/>
          <p:nvPr/>
        </p:nvSpPr>
        <p:spPr>
          <a:xfrm>
            <a:off x="5176889"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company value</a:t>
            </a:r>
          </a:p>
        </p:txBody>
      </p:sp>
      <p:sp>
        <p:nvSpPr>
          <p:cNvPr id="12" name="Rectangle 11">
            <a:extLst>
              <a:ext uri="{FF2B5EF4-FFF2-40B4-BE49-F238E27FC236}">
                <a16:creationId xmlns:a16="http://schemas.microsoft.com/office/drawing/2014/main" id="{9A65ADC9-0635-434B-9829-EA26E50BCCAC}"/>
              </a:ext>
            </a:extLst>
          </p:cNvPr>
          <p:cNvSpPr/>
          <p:nvPr/>
        </p:nvSpPr>
        <p:spPr>
          <a:xfrm>
            <a:off x="7455916"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company value</a:t>
            </a:r>
          </a:p>
        </p:txBody>
      </p:sp>
      <p:sp>
        <p:nvSpPr>
          <p:cNvPr id="14" name="Rectangle 13">
            <a:extLst>
              <a:ext uri="{FF2B5EF4-FFF2-40B4-BE49-F238E27FC236}">
                <a16:creationId xmlns:a16="http://schemas.microsoft.com/office/drawing/2014/main" id="{01AF693B-D65B-427E-AB73-775C9CA6F9F8}"/>
              </a:ext>
            </a:extLst>
          </p:cNvPr>
          <p:cNvSpPr/>
          <p:nvPr/>
        </p:nvSpPr>
        <p:spPr>
          <a:xfrm>
            <a:off x="9734941" y="5420500"/>
            <a:ext cx="1852222" cy="893213"/>
          </a:xfrm>
          <a:prstGeom prst="rect">
            <a:avLst/>
          </a:prstGeom>
          <a:solidFill>
            <a:srgbClr val="D3E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chemeClr val="tx1"/>
                </a:solidFill>
                <a:effectLst/>
                <a:uLnTx/>
                <a:uFillTx/>
                <a:latin typeface="Arial" panose="020B0604020202020204"/>
                <a:ea typeface="+mn-ea"/>
                <a:cs typeface="+mn-cs"/>
              </a:rPr>
              <a:t>Insert company value</a:t>
            </a:r>
          </a:p>
        </p:txBody>
      </p:sp>
    </p:spTree>
    <p:extLst>
      <p:ext uri="{BB962C8B-B14F-4D97-AF65-F5344CB8AC3E}">
        <p14:creationId xmlns:p14="http://schemas.microsoft.com/office/powerpoint/2010/main" val="1447772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 name="Chevron 10">
            <a:extLst>
              <a:ext uri="{FF2B5EF4-FFF2-40B4-BE49-F238E27FC236}">
                <a16:creationId xmlns:a16="http://schemas.microsoft.com/office/drawing/2014/main" id="{33D97927-951B-FDBC-405D-3FFA6888D7A0}"/>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57A88701-A0A5-713E-7940-085AF5621AFD}"/>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CAD1D868-AB3C-5455-8159-F8643B596C19}"/>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3E4293C1-4F6B-A357-5D74-015075BE87A3}"/>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6C6EF6E1-0290-2C7F-0617-99D6F7C7712C}"/>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FAD28EA6-1E48-682B-483A-1D2D9E557282}"/>
              </a:ext>
            </a:extLst>
          </p:cNvPr>
          <p:cNvSpPr/>
          <p:nvPr/>
        </p:nvSpPr>
        <p:spPr bwMode="auto">
          <a:xfrm>
            <a:off x="544029"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721546FE-C935-2E4C-FB18-478B4EA0E7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38E8AE53-703F-297B-FADE-47C4558406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BF72BEBC-7607-4D38-8563-C0E0EBC67C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48D680B0-3230-18D9-C149-1A41497BFF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8286D6B0-E6B0-25A6-2A38-606C6A43E16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BD60D347-99AE-F756-8D34-8A263B3F4C94}"/>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57F403-BA8B-5619-8B1E-6797017B7D70}"/>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8D9EE62-885D-2134-4421-C528EE663B4A}"/>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A88AFE8-4F76-8249-9A59-2E178F544A5F}"/>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561BA85-1AC6-5196-E879-4CA641B433AA}"/>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759BC80-A51A-629C-D18B-EB55E14F4028}"/>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t>Company mission, vision and values</a:t>
            </a:r>
          </a:p>
          <a:p>
            <a:pPr marL="169863" indent="-169863">
              <a:spcBef>
                <a:spcPts val="400"/>
              </a:spcBef>
              <a:spcAft>
                <a:spcPts val="400"/>
              </a:spcAft>
              <a:buFont typeface="+mj-lt"/>
              <a:buAutoNum type="arabicPeriod"/>
              <a:defRPr/>
            </a:pPr>
            <a:r>
              <a:rPr lang="en-GB" sz="1200" dirty="0">
                <a:solidFill>
                  <a:srgbClr val="00B0F0"/>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C4FFAE33-DF0B-2531-6B3F-484725368A6A}"/>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4" name="Rectangle 23">
            <a:extLst>
              <a:ext uri="{FF2B5EF4-FFF2-40B4-BE49-F238E27FC236}">
                <a16:creationId xmlns:a16="http://schemas.microsoft.com/office/drawing/2014/main" id="{CDFB8376-53D3-488E-62B2-7BEA339725AB}"/>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5" name="Rectangle 24">
            <a:extLst>
              <a:ext uri="{FF2B5EF4-FFF2-40B4-BE49-F238E27FC236}">
                <a16:creationId xmlns:a16="http://schemas.microsoft.com/office/drawing/2014/main" id="{11517964-E29F-E01D-939A-1EE093F5D62A}"/>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31" name="Rectangle 30">
            <a:extLst>
              <a:ext uri="{FF2B5EF4-FFF2-40B4-BE49-F238E27FC236}">
                <a16:creationId xmlns:a16="http://schemas.microsoft.com/office/drawing/2014/main" id="{84366F80-874E-98D9-7CAD-2FD7596B3AC0}"/>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32" name="Graphic 31" descr="Statistics outline">
            <a:extLst>
              <a:ext uri="{FF2B5EF4-FFF2-40B4-BE49-F238E27FC236}">
                <a16:creationId xmlns:a16="http://schemas.microsoft.com/office/drawing/2014/main" id="{1D71B061-859C-D5EC-1851-9CA707B3D20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3" name="Rectangle 32">
            <a:extLst>
              <a:ext uri="{FF2B5EF4-FFF2-40B4-BE49-F238E27FC236}">
                <a16:creationId xmlns:a16="http://schemas.microsoft.com/office/drawing/2014/main" id="{69D21339-09A4-2A06-3EB3-56BEF01B216F}"/>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2097163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many potential M&amp;A strategic objectives</a:t>
            </a:r>
            <a:endParaRPr lang="en-US" sz="2400"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9</a:t>
            </a:fld>
            <a:endParaRPr lang="en-US" dirty="0">
              <a:solidFill>
                <a:srgbClr val="ADAFBB"/>
              </a:solidFill>
            </a:endParaRPr>
          </a:p>
        </p:txBody>
      </p:sp>
      <p:sp>
        <p:nvSpPr>
          <p:cNvPr id="12" name="Oval 11">
            <a:extLst>
              <a:ext uri="{FF2B5EF4-FFF2-40B4-BE49-F238E27FC236}">
                <a16:creationId xmlns:a16="http://schemas.microsoft.com/office/drawing/2014/main" id="{8306F265-EA78-49C1-8405-1B65E1DBD4FA}"/>
              </a:ext>
            </a:extLst>
          </p:cNvPr>
          <p:cNvSpPr/>
          <p:nvPr/>
        </p:nvSpPr>
        <p:spPr>
          <a:xfrm>
            <a:off x="3719174"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offer new products and services</a:t>
            </a:r>
          </a:p>
        </p:txBody>
      </p:sp>
      <p:sp>
        <p:nvSpPr>
          <p:cNvPr id="19" name="Oval 18">
            <a:extLst>
              <a:ext uri="{FF2B5EF4-FFF2-40B4-BE49-F238E27FC236}">
                <a16:creationId xmlns:a16="http://schemas.microsoft.com/office/drawing/2014/main" id="{9D1DA41A-AAE2-4331-879A-5929CB091B0C}"/>
              </a:ext>
            </a:extLst>
          </p:cNvPr>
          <p:cNvSpPr/>
          <p:nvPr/>
        </p:nvSpPr>
        <p:spPr>
          <a:xfrm>
            <a:off x="8977740"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increase market share by acquiring new customers</a:t>
            </a:r>
          </a:p>
        </p:txBody>
      </p:sp>
      <p:sp>
        <p:nvSpPr>
          <p:cNvPr id="20" name="Oval 19">
            <a:extLst>
              <a:ext uri="{FF2B5EF4-FFF2-40B4-BE49-F238E27FC236}">
                <a16:creationId xmlns:a16="http://schemas.microsoft.com/office/drawing/2014/main" id="{A3155065-9875-470B-90E1-D4791446E781}"/>
              </a:ext>
            </a:extLst>
          </p:cNvPr>
          <p:cNvSpPr/>
          <p:nvPr/>
        </p:nvSpPr>
        <p:spPr>
          <a:xfrm>
            <a:off x="1089891"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dd a distribution channel</a:t>
            </a:r>
          </a:p>
        </p:txBody>
      </p:sp>
      <p:sp>
        <p:nvSpPr>
          <p:cNvPr id="23" name="Oval 22">
            <a:extLst>
              <a:ext uri="{FF2B5EF4-FFF2-40B4-BE49-F238E27FC236}">
                <a16:creationId xmlns:a16="http://schemas.microsoft.com/office/drawing/2014/main" id="{5DA409EE-3999-44D8-9E67-55D3BEDAF7CC}"/>
              </a:ext>
            </a:extLst>
          </p:cNvPr>
          <p:cNvSpPr/>
          <p:nvPr/>
        </p:nvSpPr>
        <p:spPr>
          <a:xfrm>
            <a:off x="1089891"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enter a new domestic or international market</a:t>
            </a:r>
          </a:p>
        </p:txBody>
      </p:sp>
      <p:sp>
        <p:nvSpPr>
          <p:cNvPr id="24" name="Oval 23">
            <a:extLst>
              <a:ext uri="{FF2B5EF4-FFF2-40B4-BE49-F238E27FC236}">
                <a16:creationId xmlns:a16="http://schemas.microsoft.com/office/drawing/2014/main" id="{3FDE4D88-5A8E-4D70-9AC2-1A3E89904A39}"/>
              </a:ext>
            </a:extLst>
          </p:cNvPr>
          <p:cNvSpPr/>
          <p:nvPr/>
        </p:nvSpPr>
        <p:spPr>
          <a:xfrm>
            <a:off x="8977740"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hieve operating synergies and economies of scale</a:t>
            </a:r>
          </a:p>
        </p:txBody>
      </p:sp>
      <p:sp>
        <p:nvSpPr>
          <p:cNvPr id="25" name="Oval 24">
            <a:extLst>
              <a:ext uri="{FF2B5EF4-FFF2-40B4-BE49-F238E27FC236}">
                <a16:creationId xmlns:a16="http://schemas.microsoft.com/office/drawing/2014/main" id="{7810C931-4159-45C4-A3E2-704C14939ABF}"/>
              </a:ext>
            </a:extLst>
          </p:cNvPr>
          <p:cNvSpPr/>
          <p:nvPr/>
        </p:nvSpPr>
        <p:spPr>
          <a:xfrm>
            <a:off x="3719174"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strengthen key business areas such as research &amp; development, sales or marketing</a:t>
            </a:r>
          </a:p>
        </p:txBody>
      </p:sp>
      <p:sp>
        <p:nvSpPr>
          <p:cNvPr id="26" name="Oval 25">
            <a:extLst>
              <a:ext uri="{FF2B5EF4-FFF2-40B4-BE49-F238E27FC236}">
                <a16:creationId xmlns:a16="http://schemas.microsoft.com/office/drawing/2014/main" id="{7C973433-79AC-420E-B105-53A20575C1AE}"/>
              </a:ext>
            </a:extLst>
          </p:cNvPr>
          <p:cNvSpPr/>
          <p:nvPr/>
        </p:nvSpPr>
        <p:spPr>
          <a:xfrm>
            <a:off x="8977740"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cess a new technology</a:t>
            </a:r>
          </a:p>
        </p:txBody>
      </p:sp>
      <p:sp>
        <p:nvSpPr>
          <p:cNvPr id="27" name="Oval 26">
            <a:extLst>
              <a:ext uri="{FF2B5EF4-FFF2-40B4-BE49-F238E27FC236}">
                <a16:creationId xmlns:a16="http://schemas.microsoft.com/office/drawing/2014/main" id="{538B4C19-4199-4EC4-9055-FBAFAF368D6C}"/>
              </a:ext>
            </a:extLst>
          </p:cNvPr>
          <p:cNvSpPr/>
          <p:nvPr/>
        </p:nvSpPr>
        <p:spPr>
          <a:xfrm>
            <a:off x="1089891"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quire trained human resources</a:t>
            </a:r>
          </a:p>
        </p:txBody>
      </p:sp>
      <p:sp>
        <p:nvSpPr>
          <p:cNvPr id="28" name="Oval 27">
            <a:extLst>
              <a:ext uri="{FF2B5EF4-FFF2-40B4-BE49-F238E27FC236}">
                <a16:creationId xmlns:a16="http://schemas.microsoft.com/office/drawing/2014/main" id="{1B373EA7-CBDC-463F-89E7-9F6240D1B42D}"/>
              </a:ext>
            </a:extLst>
          </p:cNvPr>
          <p:cNvSpPr/>
          <p:nvPr/>
        </p:nvSpPr>
        <p:spPr>
          <a:xfrm>
            <a:off x="6348457" y="1747423"/>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enhance reputation</a:t>
            </a:r>
          </a:p>
        </p:txBody>
      </p:sp>
      <p:sp>
        <p:nvSpPr>
          <p:cNvPr id="29" name="Oval 28">
            <a:extLst>
              <a:ext uri="{FF2B5EF4-FFF2-40B4-BE49-F238E27FC236}">
                <a16:creationId xmlns:a16="http://schemas.microsoft.com/office/drawing/2014/main" id="{64C31903-87EE-4E43-A377-FD7EA4AEAD0D}"/>
              </a:ext>
            </a:extLst>
          </p:cNvPr>
          <p:cNvSpPr/>
          <p:nvPr/>
        </p:nvSpPr>
        <p:spPr>
          <a:xfrm>
            <a:off x="6348457" y="5227369"/>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reduce the number of competitors</a:t>
            </a:r>
          </a:p>
        </p:txBody>
      </p:sp>
      <p:sp>
        <p:nvSpPr>
          <p:cNvPr id="37" name="Oval 36">
            <a:extLst>
              <a:ext uri="{FF2B5EF4-FFF2-40B4-BE49-F238E27FC236}">
                <a16:creationId xmlns:a16="http://schemas.microsoft.com/office/drawing/2014/main" id="{BBCA321F-3F34-4EFD-8EEC-A81B7F0B962B}"/>
              </a:ext>
            </a:extLst>
          </p:cNvPr>
          <p:cNvSpPr/>
          <p:nvPr/>
        </p:nvSpPr>
        <p:spPr>
          <a:xfrm>
            <a:off x="3719174"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take advantage of a bargain</a:t>
            </a:r>
          </a:p>
        </p:txBody>
      </p:sp>
      <p:sp>
        <p:nvSpPr>
          <p:cNvPr id="38" name="Oval 37">
            <a:extLst>
              <a:ext uri="{FF2B5EF4-FFF2-40B4-BE49-F238E27FC236}">
                <a16:creationId xmlns:a16="http://schemas.microsoft.com/office/drawing/2014/main" id="{AB36AA84-CB9C-45D1-8377-C9C59F0AB8D3}"/>
              </a:ext>
            </a:extLst>
          </p:cNvPr>
          <p:cNvSpPr/>
          <p:nvPr/>
        </p:nvSpPr>
        <p:spPr>
          <a:xfrm>
            <a:off x="6348457" y="3489927"/>
            <a:ext cx="2018698" cy="113890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o acquire certain patents, copyrights, trade secrets, or other intangible assets</a:t>
            </a:r>
          </a:p>
        </p:txBody>
      </p:sp>
    </p:spTree>
    <p:extLst>
      <p:ext uri="{BB962C8B-B14F-4D97-AF65-F5344CB8AC3E}">
        <p14:creationId xmlns:p14="http://schemas.microsoft.com/office/powerpoint/2010/main" val="2486072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3409</TotalTime>
  <Words>4096</Words>
  <Application>Microsoft Office PowerPoint</Application>
  <PresentationFormat>Widescreen</PresentationFormat>
  <Paragraphs>582</Paragraphs>
  <Slides>29</Slides>
  <Notes>13</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29</vt:i4>
      </vt:variant>
    </vt:vector>
  </HeadingPairs>
  <TitlesOfParts>
    <vt:vector size="43" baseType="lpstr">
      <vt:lpstr>Arial</vt:lpstr>
      <vt:lpstr>Calibri</vt:lpstr>
      <vt:lpstr>Times</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Mergers and Acquisitions Strategy</vt:lpstr>
      <vt:lpstr>Guide</vt:lpstr>
      <vt:lpstr>This deliverable will focus on the first phase of our Mergers &amp; Acquisitions 6-phase approach</vt:lpstr>
      <vt:lpstr>Table of contents</vt:lpstr>
      <vt:lpstr>What do we mean by company mission statement, vision statement and values?</vt:lpstr>
      <vt:lpstr>What do we mean by company mission statement, vision statement and values?</vt:lpstr>
      <vt:lpstr>Company mission statement, vision statement and values</vt:lpstr>
      <vt:lpstr>Table of contents</vt:lpstr>
      <vt:lpstr>There are many potential M&amp;A strategic objectives</vt:lpstr>
      <vt:lpstr>There are many potential M&amp;A strategic objectives</vt:lpstr>
      <vt:lpstr>[Insert company name] decided to focus on the following [insert number] M&amp;A strategic objectives</vt:lpstr>
      <vt:lpstr>[Insert company name] decided to focus on the following [insert number] M&amp;A strategic objectives</vt:lpstr>
      <vt:lpstr>Rationale behind each M&amp;A Strategic Objectives</vt:lpstr>
      <vt:lpstr>Key performance indicators (KPIs) and Targets</vt:lpstr>
      <vt:lpstr>Table of contents</vt:lpstr>
      <vt:lpstr>M&amp;A team organizational chart</vt:lpstr>
      <vt:lpstr>M&amp;A team organizational chart</vt:lpstr>
      <vt:lpstr>Organizational Charts</vt:lpstr>
      <vt:lpstr>Organizational Charts</vt:lpstr>
      <vt:lpstr>Organizational Charts</vt:lpstr>
      <vt:lpstr>Organizational Charts</vt:lpstr>
      <vt:lpstr>Organizational Charts</vt:lpstr>
      <vt:lpstr>Table of contents</vt:lpstr>
      <vt:lpstr>We identified 5 [insert your own number] M&amp;A guiding principles</vt:lpstr>
      <vt:lpstr>Table of contents</vt:lpstr>
      <vt:lpstr>We identified 5 [insert your own number] screening criteria to help us select the right companies to potentially acquire</vt:lpstr>
      <vt:lpstr>We identified 5 [insert your own number] screening criteria to help us select the right companies to potentially acquire</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7</cp:revision>
  <dcterms:created xsi:type="dcterms:W3CDTF">2020-07-08T04:44:55Z</dcterms:created>
  <dcterms:modified xsi:type="dcterms:W3CDTF">2023-06-14T02:49:3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